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97" r:id="rId2"/>
    <p:sldId id="270" r:id="rId3"/>
    <p:sldId id="273" r:id="rId4"/>
    <p:sldId id="272" r:id="rId5"/>
    <p:sldId id="283" r:id="rId6"/>
    <p:sldId id="285" r:id="rId7"/>
    <p:sldId id="313" r:id="rId8"/>
    <p:sldId id="295" r:id="rId9"/>
    <p:sldId id="288" r:id="rId10"/>
    <p:sldId id="275" r:id="rId11"/>
    <p:sldId id="298" r:id="rId12"/>
    <p:sldId id="289" r:id="rId13"/>
    <p:sldId id="335" r:id="rId14"/>
    <p:sldId id="329" r:id="rId15"/>
    <p:sldId id="330" r:id="rId16"/>
    <p:sldId id="336" r:id="rId17"/>
    <p:sldId id="342" r:id="rId18"/>
    <p:sldId id="338" r:id="rId19"/>
    <p:sldId id="351" r:id="rId20"/>
    <p:sldId id="303" r:id="rId21"/>
    <p:sldId id="327" r:id="rId22"/>
    <p:sldId id="306" r:id="rId23"/>
    <p:sldId id="346" r:id="rId24"/>
    <p:sldId id="314" r:id="rId25"/>
    <p:sldId id="347" r:id="rId26"/>
    <p:sldId id="277" r:id="rId27"/>
    <p:sldId id="317" r:id="rId28"/>
    <p:sldId id="318" r:id="rId29"/>
    <p:sldId id="348" r:id="rId30"/>
    <p:sldId id="279" r:id="rId31"/>
    <p:sldId id="334" r:id="rId32"/>
    <p:sldId id="305" r:id="rId33"/>
    <p:sldId id="350" r:id="rId3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574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33" d="100"/>
          <a:sy n="33" d="100"/>
        </p:scale>
        <p:origin x="-2436" y="-8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684FE8-40C2-45C1-B237-400F2F0C3F84}" type="doc">
      <dgm:prSet loTypeId="urn:microsoft.com/office/officeart/2005/8/layout/orgChart1" loCatId="hierarchy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A73F0C3A-905D-47C8-8931-FFA310586310}" type="asst">
      <dgm:prSet phldrT="[Текст]" custT="1"/>
      <dgm:spPr/>
      <dgm:t>
        <a:bodyPr/>
        <a:lstStyle/>
        <a:p>
          <a:r>
            <a:rPr lang="ru-RU" sz="2000" b="1" dirty="0" smtClean="0">
              <a:solidFill>
                <a:schemeClr val="bg1"/>
              </a:solidFill>
            </a:rPr>
            <a:t>Совместная</a:t>
          </a:r>
          <a:r>
            <a:rPr lang="ru-RU" sz="2000" dirty="0" smtClean="0"/>
            <a:t> </a:t>
          </a:r>
          <a:r>
            <a:rPr lang="ru-RU" sz="2000" b="1" dirty="0" smtClean="0">
              <a:solidFill>
                <a:schemeClr val="bg1"/>
              </a:solidFill>
            </a:rPr>
            <a:t>работа</a:t>
          </a:r>
          <a:endParaRPr lang="ru-RU" sz="2000" b="1" dirty="0">
            <a:solidFill>
              <a:schemeClr val="bg1"/>
            </a:solidFill>
          </a:endParaRPr>
        </a:p>
      </dgm:t>
    </dgm:pt>
    <dgm:pt modelId="{59F3C2F6-5223-4A29-B830-629BD2D97073}" type="parTrans" cxnId="{7DD719E6-2FB5-454C-B81B-E25D55DBDF1D}">
      <dgm:prSet/>
      <dgm:spPr/>
      <dgm:t>
        <a:bodyPr/>
        <a:lstStyle/>
        <a:p>
          <a:endParaRPr lang="ru-RU"/>
        </a:p>
      </dgm:t>
    </dgm:pt>
    <dgm:pt modelId="{B728791B-22E3-456F-B113-18031C2BD0E2}" type="sibTrans" cxnId="{7DD719E6-2FB5-454C-B81B-E25D55DBDF1D}">
      <dgm:prSet/>
      <dgm:spPr/>
      <dgm:t>
        <a:bodyPr/>
        <a:lstStyle/>
        <a:p>
          <a:endParaRPr lang="ru-RU"/>
        </a:p>
      </dgm:t>
    </dgm:pt>
    <dgm:pt modelId="{BDB6A80F-218B-4D0D-9001-99797B900FEE}">
      <dgm:prSet phldrT="[Текст]" custT="1"/>
      <dgm:spPr/>
      <dgm:t>
        <a:bodyPr/>
        <a:lstStyle/>
        <a:p>
          <a:r>
            <a:rPr lang="ru-RU" sz="2000" b="1" dirty="0" smtClean="0"/>
            <a:t>Ориентировочные задания</a:t>
          </a:r>
          <a:endParaRPr lang="ru-RU" sz="2000" b="1" dirty="0"/>
        </a:p>
      </dgm:t>
    </dgm:pt>
    <dgm:pt modelId="{11CFF56D-CB2C-4E3B-B85B-E7C7CA40D82B}" type="parTrans" cxnId="{BBE8F4DC-2E5E-42EC-9F4E-F515CFD6731C}">
      <dgm:prSet/>
      <dgm:spPr/>
      <dgm:t>
        <a:bodyPr/>
        <a:lstStyle/>
        <a:p>
          <a:endParaRPr lang="ru-RU"/>
        </a:p>
      </dgm:t>
    </dgm:pt>
    <dgm:pt modelId="{034F1F81-23F7-41C2-AFE9-C2AE34910CC1}" type="sibTrans" cxnId="{BBE8F4DC-2E5E-42EC-9F4E-F515CFD6731C}">
      <dgm:prSet/>
      <dgm:spPr/>
      <dgm:t>
        <a:bodyPr/>
        <a:lstStyle/>
        <a:p>
          <a:endParaRPr lang="ru-RU"/>
        </a:p>
      </dgm:t>
    </dgm:pt>
    <dgm:pt modelId="{252E0E2A-36F8-405E-87DB-4488E997CE55}">
      <dgm:prSet phldrT="[Текст]" custT="1"/>
      <dgm:spPr/>
      <dgm:t>
        <a:bodyPr/>
        <a:lstStyle/>
        <a:p>
          <a:r>
            <a:rPr lang="ru-RU" sz="2000" b="1" dirty="0" smtClean="0"/>
            <a:t>Работа по инструкции</a:t>
          </a:r>
          <a:endParaRPr lang="ru-RU" sz="2000" b="1" dirty="0"/>
        </a:p>
      </dgm:t>
    </dgm:pt>
    <dgm:pt modelId="{A1BD7AE6-1408-47BD-9D31-7DA61E431A7A}" type="parTrans" cxnId="{29C83904-2FA1-4365-A3AC-5337FA08BB10}">
      <dgm:prSet/>
      <dgm:spPr/>
      <dgm:t>
        <a:bodyPr/>
        <a:lstStyle/>
        <a:p>
          <a:endParaRPr lang="ru-RU"/>
        </a:p>
      </dgm:t>
    </dgm:pt>
    <dgm:pt modelId="{D5A4AF33-B137-4F68-86AE-920288E8D987}" type="sibTrans" cxnId="{29C83904-2FA1-4365-A3AC-5337FA08BB10}">
      <dgm:prSet/>
      <dgm:spPr/>
      <dgm:t>
        <a:bodyPr/>
        <a:lstStyle/>
        <a:p>
          <a:endParaRPr lang="ru-RU"/>
        </a:p>
      </dgm:t>
    </dgm:pt>
    <dgm:pt modelId="{8811415E-8300-41BB-923F-CE5A21B71E40}">
      <dgm:prSet phldrT="[Текст]" custT="1"/>
      <dgm:spPr/>
      <dgm:t>
        <a:bodyPr/>
        <a:lstStyle/>
        <a:p>
          <a:r>
            <a:rPr lang="ru-RU" sz="2000" b="1" dirty="0" smtClean="0"/>
            <a:t>Творческая работа</a:t>
          </a:r>
          <a:endParaRPr lang="ru-RU" sz="2000" b="1" dirty="0"/>
        </a:p>
      </dgm:t>
    </dgm:pt>
    <dgm:pt modelId="{7B9D735B-8E01-442C-884C-066F1BA8DF6F}" type="parTrans" cxnId="{28A78BB8-2D51-40CC-8FB1-2775E3EEC68C}">
      <dgm:prSet/>
      <dgm:spPr/>
      <dgm:t>
        <a:bodyPr/>
        <a:lstStyle/>
        <a:p>
          <a:endParaRPr lang="ru-RU"/>
        </a:p>
      </dgm:t>
    </dgm:pt>
    <dgm:pt modelId="{D3BE961B-FECD-4B97-A4F8-C92C96200863}" type="sibTrans" cxnId="{28A78BB8-2D51-40CC-8FB1-2775E3EEC68C}">
      <dgm:prSet/>
      <dgm:spPr/>
      <dgm:t>
        <a:bodyPr/>
        <a:lstStyle/>
        <a:p>
          <a:endParaRPr lang="ru-RU"/>
        </a:p>
      </dgm:t>
    </dgm:pt>
    <dgm:pt modelId="{345B3ED3-BEEA-46E0-A529-291D8E1073EB}" type="asst">
      <dgm:prSet custT="1"/>
      <dgm:spPr/>
      <dgm:t>
        <a:bodyPr/>
        <a:lstStyle/>
        <a:p>
          <a:r>
            <a:rPr lang="ru-RU" sz="2000" b="1" dirty="0" smtClean="0"/>
            <a:t>Индивидуальная работа</a:t>
          </a:r>
          <a:endParaRPr lang="ru-RU" sz="2000" b="1" dirty="0"/>
        </a:p>
      </dgm:t>
    </dgm:pt>
    <dgm:pt modelId="{3D6A7877-E7E9-461A-94F2-9F10D524D876}" type="parTrans" cxnId="{27722C08-5188-4F8A-B347-605F8224222A}">
      <dgm:prSet/>
      <dgm:spPr/>
      <dgm:t>
        <a:bodyPr/>
        <a:lstStyle/>
        <a:p>
          <a:endParaRPr lang="ru-RU"/>
        </a:p>
      </dgm:t>
    </dgm:pt>
    <dgm:pt modelId="{64494CDD-D57A-4C03-B070-84205CDB792D}" type="sibTrans" cxnId="{27722C08-5188-4F8A-B347-605F8224222A}">
      <dgm:prSet/>
      <dgm:spPr/>
      <dgm:t>
        <a:bodyPr/>
        <a:lstStyle/>
        <a:p>
          <a:endParaRPr lang="ru-RU"/>
        </a:p>
      </dgm:t>
    </dgm:pt>
    <dgm:pt modelId="{00F8CD30-BF55-44C3-9329-654F87021A88}">
      <dgm:prSet/>
      <dgm:spPr/>
      <dgm:t>
        <a:bodyPr/>
        <a:lstStyle/>
        <a:p>
          <a:r>
            <a:rPr lang="ru-RU" dirty="0" smtClean="0"/>
            <a:t>….</a:t>
          </a:r>
          <a:endParaRPr lang="ru-RU" dirty="0"/>
        </a:p>
      </dgm:t>
    </dgm:pt>
    <dgm:pt modelId="{AB2DD22E-3D34-45DB-B28C-8053F1AFADEC}" type="parTrans" cxnId="{D78774E6-631F-4FB1-B579-183A2763A5E9}">
      <dgm:prSet/>
      <dgm:spPr/>
      <dgm:t>
        <a:bodyPr/>
        <a:lstStyle/>
        <a:p>
          <a:endParaRPr lang="ru-RU"/>
        </a:p>
      </dgm:t>
    </dgm:pt>
    <dgm:pt modelId="{22C60A6B-C913-4AD0-B7AB-D97433F1F0C1}" type="sibTrans" cxnId="{D78774E6-631F-4FB1-B579-183A2763A5E9}">
      <dgm:prSet/>
      <dgm:spPr/>
      <dgm:t>
        <a:bodyPr/>
        <a:lstStyle/>
        <a:p>
          <a:endParaRPr lang="ru-RU"/>
        </a:p>
      </dgm:t>
    </dgm:pt>
    <dgm:pt modelId="{26065799-DD5A-40BC-B0DF-1914115DD78C}">
      <dgm:prSet/>
      <dgm:spPr/>
      <dgm:t>
        <a:bodyPr/>
        <a:lstStyle/>
        <a:p>
          <a:r>
            <a:rPr lang="ru-RU" dirty="0" smtClean="0"/>
            <a:t>…</a:t>
          </a:r>
          <a:endParaRPr lang="ru-RU" dirty="0"/>
        </a:p>
      </dgm:t>
    </dgm:pt>
    <dgm:pt modelId="{057717F8-12C5-4007-8417-B84BB3F070B9}" type="parTrans" cxnId="{752E7158-643F-4F09-B378-3CC0116A2097}">
      <dgm:prSet/>
      <dgm:spPr/>
      <dgm:t>
        <a:bodyPr/>
        <a:lstStyle/>
        <a:p>
          <a:endParaRPr lang="ru-RU"/>
        </a:p>
      </dgm:t>
    </dgm:pt>
    <dgm:pt modelId="{B6E3DFE5-C898-4A84-8BA6-8CC89AE61D32}" type="sibTrans" cxnId="{752E7158-643F-4F09-B378-3CC0116A2097}">
      <dgm:prSet/>
      <dgm:spPr/>
      <dgm:t>
        <a:bodyPr/>
        <a:lstStyle/>
        <a:p>
          <a:endParaRPr lang="ru-RU"/>
        </a:p>
      </dgm:t>
    </dgm:pt>
    <dgm:pt modelId="{D3B6F5D4-014E-499C-837A-7A2D6D00987E}">
      <dgm:prSet/>
      <dgm:spPr/>
      <dgm:t>
        <a:bodyPr/>
        <a:lstStyle/>
        <a:p>
          <a:r>
            <a:rPr lang="ru-RU" b="1" dirty="0" smtClean="0"/>
            <a:t>Сделать рисунок</a:t>
          </a:r>
          <a:endParaRPr lang="ru-RU" b="1" dirty="0"/>
        </a:p>
      </dgm:t>
    </dgm:pt>
    <dgm:pt modelId="{80EA8E5C-AE75-48BB-92B7-A456C8864070}" type="parTrans" cxnId="{CABECC07-CC13-4A47-9DE6-F9557DC8BD0B}">
      <dgm:prSet/>
      <dgm:spPr/>
      <dgm:t>
        <a:bodyPr/>
        <a:lstStyle/>
        <a:p>
          <a:endParaRPr lang="ru-RU"/>
        </a:p>
      </dgm:t>
    </dgm:pt>
    <dgm:pt modelId="{9CEA8826-96DF-4F06-B4B4-C7AC2B8525C3}" type="sibTrans" cxnId="{CABECC07-CC13-4A47-9DE6-F9557DC8BD0B}">
      <dgm:prSet/>
      <dgm:spPr/>
      <dgm:t>
        <a:bodyPr/>
        <a:lstStyle/>
        <a:p>
          <a:endParaRPr lang="ru-RU"/>
        </a:p>
      </dgm:t>
    </dgm:pt>
    <dgm:pt modelId="{26DE4F92-BABC-48BD-956C-845C73CBACE3}">
      <dgm:prSet/>
      <dgm:spPr/>
      <dgm:t>
        <a:bodyPr/>
        <a:lstStyle/>
        <a:p>
          <a:r>
            <a:rPr lang="ru-RU" b="1" dirty="0" smtClean="0"/>
            <a:t>Написать рассказ</a:t>
          </a:r>
          <a:endParaRPr lang="ru-RU" b="1" dirty="0"/>
        </a:p>
      </dgm:t>
    </dgm:pt>
    <dgm:pt modelId="{5EA64C42-9C2D-46E2-B557-C8BA0EF753D9}" type="parTrans" cxnId="{7D4DCFF3-CBBB-42A6-973B-F7ACF6E0DECF}">
      <dgm:prSet/>
      <dgm:spPr/>
      <dgm:t>
        <a:bodyPr/>
        <a:lstStyle/>
        <a:p>
          <a:endParaRPr lang="ru-RU"/>
        </a:p>
      </dgm:t>
    </dgm:pt>
    <dgm:pt modelId="{1E4E92DB-6D17-4B27-9138-3ACB9038652F}" type="sibTrans" cxnId="{7D4DCFF3-CBBB-42A6-973B-F7ACF6E0DECF}">
      <dgm:prSet/>
      <dgm:spPr/>
      <dgm:t>
        <a:bodyPr/>
        <a:lstStyle/>
        <a:p>
          <a:endParaRPr lang="ru-RU"/>
        </a:p>
      </dgm:t>
    </dgm:pt>
    <dgm:pt modelId="{4F0D1846-AFC8-4116-91E1-47308184E5A9}">
      <dgm:prSet/>
      <dgm:spPr/>
      <dgm:t>
        <a:bodyPr/>
        <a:lstStyle/>
        <a:p>
          <a:r>
            <a:rPr lang="ru-RU" dirty="0" smtClean="0"/>
            <a:t>…</a:t>
          </a:r>
          <a:endParaRPr lang="ru-RU" dirty="0"/>
        </a:p>
      </dgm:t>
    </dgm:pt>
    <dgm:pt modelId="{15A980A7-6672-475E-B1EF-77C01271EEB0}" type="parTrans" cxnId="{32F40A06-D829-4CD2-B4EB-6D5B95EDEE0D}">
      <dgm:prSet/>
      <dgm:spPr/>
      <dgm:t>
        <a:bodyPr/>
        <a:lstStyle/>
        <a:p>
          <a:endParaRPr lang="ru-RU"/>
        </a:p>
      </dgm:t>
    </dgm:pt>
    <dgm:pt modelId="{18E14013-1F1A-44DB-B9A4-8FFAEEAAE96C}" type="sibTrans" cxnId="{32F40A06-D829-4CD2-B4EB-6D5B95EDEE0D}">
      <dgm:prSet/>
      <dgm:spPr/>
      <dgm:t>
        <a:bodyPr/>
        <a:lstStyle/>
        <a:p>
          <a:endParaRPr lang="ru-RU"/>
        </a:p>
      </dgm:t>
    </dgm:pt>
    <dgm:pt modelId="{1C240CC1-1323-41FC-9283-3C5FE725E307}">
      <dgm:prSet custT="1"/>
      <dgm:spPr/>
      <dgm:t>
        <a:bodyPr/>
        <a:lstStyle/>
        <a:p>
          <a:r>
            <a:rPr lang="ru-RU" sz="2000" b="1" dirty="0" smtClean="0"/>
            <a:t>Упорядочить</a:t>
          </a:r>
          <a:endParaRPr lang="ru-RU" sz="2000" b="1" dirty="0"/>
        </a:p>
      </dgm:t>
    </dgm:pt>
    <dgm:pt modelId="{AEA6AE8D-A528-4DC6-9A12-765DE5A6A36B}" type="parTrans" cxnId="{639A5849-9556-4F0B-9350-5DBA9E37C063}">
      <dgm:prSet/>
      <dgm:spPr/>
      <dgm:t>
        <a:bodyPr/>
        <a:lstStyle/>
        <a:p>
          <a:endParaRPr lang="ru-RU"/>
        </a:p>
      </dgm:t>
    </dgm:pt>
    <dgm:pt modelId="{040CFA18-4539-4174-85D9-6D9768725432}" type="sibTrans" cxnId="{639A5849-9556-4F0B-9350-5DBA9E37C063}">
      <dgm:prSet/>
      <dgm:spPr/>
      <dgm:t>
        <a:bodyPr/>
        <a:lstStyle/>
        <a:p>
          <a:endParaRPr lang="ru-RU"/>
        </a:p>
      </dgm:t>
    </dgm:pt>
    <dgm:pt modelId="{44DDB750-2FC8-4D6E-96F9-9A2D862A17F3}">
      <dgm:prSet custT="1"/>
      <dgm:spPr/>
      <dgm:t>
        <a:bodyPr/>
        <a:lstStyle/>
        <a:p>
          <a:r>
            <a:rPr lang="ru-RU" sz="2000" b="1" dirty="0" smtClean="0"/>
            <a:t>Структурировать</a:t>
          </a:r>
          <a:endParaRPr lang="ru-RU" sz="2000" b="1" dirty="0"/>
        </a:p>
      </dgm:t>
    </dgm:pt>
    <dgm:pt modelId="{C70EB43D-1B1B-4367-B719-506B3F694134}" type="parTrans" cxnId="{A01ED632-4BA8-4268-B35E-60FAC1D600E1}">
      <dgm:prSet/>
      <dgm:spPr/>
      <dgm:t>
        <a:bodyPr/>
        <a:lstStyle/>
        <a:p>
          <a:endParaRPr lang="ru-RU"/>
        </a:p>
      </dgm:t>
    </dgm:pt>
    <dgm:pt modelId="{6A3FFB83-2D2E-4E1E-8F03-9DBBDC1EC9AC}" type="sibTrans" cxnId="{A01ED632-4BA8-4268-B35E-60FAC1D600E1}">
      <dgm:prSet/>
      <dgm:spPr/>
      <dgm:t>
        <a:bodyPr/>
        <a:lstStyle/>
        <a:p>
          <a:endParaRPr lang="ru-RU"/>
        </a:p>
      </dgm:t>
    </dgm:pt>
    <dgm:pt modelId="{6BEB9EC9-1B1C-454E-8487-4779A7C98514}">
      <dgm:prSet phldrT="[Текст]" custT="1"/>
      <dgm:spPr/>
      <dgm:t>
        <a:bodyPr/>
        <a:lstStyle/>
        <a:p>
          <a:r>
            <a:rPr lang="ru-RU" sz="2400" b="1" dirty="0" smtClean="0">
              <a:solidFill>
                <a:schemeClr val="tx1"/>
              </a:solidFill>
            </a:rPr>
            <a:t>Виды работ</a:t>
          </a:r>
          <a:endParaRPr lang="ru-RU" sz="2400" b="1" dirty="0">
            <a:solidFill>
              <a:schemeClr val="tx1"/>
            </a:solidFill>
          </a:endParaRPr>
        </a:p>
      </dgm:t>
    </dgm:pt>
    <dgm:pt modelId="{8A2F6C1F-3AB5-42A3-896A-DA92AD5CABC0}" type="sibTrans" cxnId="{72E8EDE5-F063-4677-BF76-670D4C842E43}">
      <dgm:prSet/>
      <dgm:spPr/>
      <dgm:t>
        <a:bodyPr/>
        <a:lstStyle/>
        <a:p>
          <a:endParaRPr lang="ru-RU"/>
        </a:p>
      </dgm:t>
    </dgm:pt>
    <dgm:pt modelId="{FD5B896F-7AFE-4F52-8F4B-E63D6462C4E6}" type="parTrans" cxnId="{72E8EDE5-F063-4677-BF76-670D4C842E43}">
      <dgm:prSet/>
      <dgm:spPr/>
      <dgm:t>
        <a:bodyPr/>
        <a:lstStyle/>
        <a:p>
          <a:endParaRPr lang="ru-RU"/>
        </a:p>
      </dgm:t>
    </dgm:pt>
    <dgm:pt modelId="{F08A5581-CFAF-42AC-BF84-CE79AC5E4EBC}">
      <dgm:prSet/>
      <dgm:spPr/>
      <dgm:t>
        <a:bodyPr/>
        <a:lstStyle/>
        <a:p>
          <a:r>
            <a:rPr lang="ru-RU" b="1" dirty="0" smtClean="0"/>
            <a:t>Публикация сообщений</a:t>
          </a:r>
          <a:endParaRPr lang="ru-RU" b="1" dirty="0"/>
        </a:p>
      </dgm:t>
    </dgm:pt>
    <dgm:pt modelId="{C4F4A99A-5BE0-4E6C-B2A5-487ED58ADFE9}" type="parTrans" cxnId="{B601343F-B022-4761-BFBB-6F7A5CB9B1BE}">
      <dgm:prSet/>
      <dgm:spPr/>
      <dgm:t>
        <a:bodyPr/>
        <a:lstStyle/>
        <a:p>
          <a:endParaRPr lang="ru-RU"/>
        </a:p>
      </dgm:t>
    </dgm:pt>
    <dgm:pt modelId="{378A080D-D2C1-42F4-9249-B2ED7C168F4F}" type="sibTrans" cxnId="{B601343F-B022-4761-BFBB-6F7A5CB9B1BE}">
      <dgm:prSet/>
      <dgm:spPr/>
      <dgm:t>
        <a:bodyPr/>
        <a:lstStyle/>
        <a:p>
          <a:endParaRPr lang="ru-RU"/>
        </a:p>
      </dgm:t>
    </dgm:pt>
    <dgm:pt modelId="{9E70E1CE-7182-4389-8976-DA78E2213D4E}">
      <dgm:prSet/>
      <dgm:spPr/>
      <dgm:t>
        <a:bodyPr/>
        <a:lstStyle/>
        <a:p>
          <a:r>
            <a:rPr lang="ru-RU" b="1" dirty="0" smtClean="0"/>
            <a:t>Проверка грамотности</a:t>
          </a:r>
          <a:endParaRPr lang="ru-RU" b="1" dirty="0"/>
        </a:p>
      </dgm:t>
    </dgm:pt>
    <dgm:pt modelId="{C0EC8397-F9BB-490F-9C27-AD50D33FCE99}" type="parTrans" cxnId="{40C84360-17A1-4169-9F3F-0B5E2E3B2EAB}">
      <dgm:prSet/>
      <dgm:spPr/>
      <dgm:t>
        <a:bodyPr/>
        <a:lstStyle/>
        <a:p>
          <a:endParaRPr lang="ru-RU"/>
        </a:p>
      </dgm:t>
    </dgm:pt>
    <dgm:pt modelId="{E4835188-68D9-446D-9534-088531141B28}" type="sibTrans" cxnId="{40C84360-17A1-4169-9F3F-0B5E2E3B2EAB}">
      <dgm:prSet/>
      <dgm:spPr/>
      <dgm:t>
        <a:bodyPr/>
        <a:lstStyle/>
        <a:p>
          <a:endParaRPr lang="ru-RU"/>
        </a:p>
      </dgm:t>
    </dgm:pt>
    <dgm:pt modelId="{BE7AA8CB-6166-4BD4-92E7-B5B0D0473778}" type="pres">
      <dgm:prSet presAssocID="{22684FE8-40C2-45C1-B237-400F2F0C3F8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BD4E6DD-9C80-4EA3-BF41-77746DCC185D}" type="pres">
      <dgm:prSet presAssocID="{6BEB9EC9-1B1C-454E-8487-4779A7C98514}" presName="hierRoot1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949470DD-77E1-4341-AE74-1240B1BE5B78}" type="pres">
      <dgm:prSet presAssocID="{6BEB9EC9-1B1C-454E-8487-4779A7C98514}" presName="rootComposite1" presStyleCnt="0"/>
      <dgm:spPr/>
      <dgm:t>
        <a:bodyPr/>
        <a:lstStyle/>
        <a:p>
          <a:endParaRPr lang="ru-RU"/>
        </a:p>
      </dgm:t>
    </dgm:pt>
    <dgm:pt modelId="{976733B0-5C0F-4626-B169-355447CCF9F9}" type="pres">
      <dgm:prSet presAssocID="{6BEB9EC9-1B1C-454E-8487-4779A7C98514}" presName="rootText1" presStyleLbl="node0" presStyleIdx="0" presStyleCnt="1" custScaleX="302141" custLinFactNeighborX="5997" custLinFactNeighborY="205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4EC6DCC-E067-42E0-9658-CDDA9604B077}" type="pres">
      <dgm:prSet presAssocID="{6BEB9EC9-1B1C-454E-8487-4779A7C98514}" presName="rootConnector1" presStyleLbl="node1" presStyleIdx="0" presStyleCnt="0"/>
      <dgm:spPr/>
      <dgm:t>
        <a:bodyPr/>
        <a:lstStyle/>
        <a:p>
          <a:endParaRPr lang="ru-RU"/>
        </a:p>
      </dgm:t>
    </dgm:pt>
    <dgm:pt modelId="{ABD7A0E4-8588-4B23-AABE-791EDBB48D98}" type="pres">
      <dgm:prSet presAssocID="{6BEB9EC9-1B1C-454E-8487-4779A7C98514}" presName="hierChild2" presStyleCnt="0"/>
      <dgm:spPr/>
      <dgm:t>
        <a:bodyPr/>
        <a:lstStyle/>
        <a:p>
          <a:endParaRPr lang="ru-RU"/>
        </a:p>
      </dgm:t>
    </dgm:pt>
    <dgm:pt modelId="{D70859DF-75E6-4500-8AAF-578F147C722A}" type="pres">
      <dgm:prSet presAssocID="{11CFF56D-CB2C-4E3B-B85B-E7C7CA40D82B}" presName="Name37" presStyleLbl="parChTrans1D2" presStyleIdx="0" presStyleCnt="5"/>
      <dgm:spPr/>
      <dgm:t>
        <a:bodyPr/>
        <a:lstStyle/>
        <a:p>
          <a:endParaRPr lang="ru-RU"/>
        </a:p>
      </dgm:t>
    </dgm:pt>
    <dgm:pt modelId="{D57C5C06-991C-40B3-8700-8969B9F50025}" type="pres">
      <dgm:prSet presAssocID="{BDB6A80F-218B-4D0D-9001-99797B900FEE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D9BA71F8-26A6-454A-9DD0-C46337E105A3}" type="pres">
      <dgm:prSet presAssocID="{BDB6A80F-218B-4D0D-9001-99797B900FEE}" presName="rootComposite" presStyleCnt="0"/>
      <dgm:spPr/>
      <dgm:t>
        <a:bodyPr/>
        <a:lstStyle/>
        <a:p>
          <a:endParaRPr lang="ru-RU"/>
        </a:p>
      </dgm:t>
    </dgm:pt>
    <dgm:pt modelId="{552B00D1-BFD8-4B1E-8FC4-10C3E5B56EE2}" type="pres">
      <dgm:prSet presAssocID="{BDB6A80F-218B-4D0D-9001-99797B900FEE}" presName="rootText" presStyleLbl="node2" presStyleIdx="0" presStyleCnt="3" custScaleX="224362" custLinFactNeighborX="3485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C933AEE-2A38-4B39-A33A-F5015DD5893C}" type="pres">
      <dgm:prSet presAssocID="{BDB6A80F-218B-4D0D-9001-99797B900FEE}" presName="rootConnector" presStyleLbl="node2" presStyleIdx="0" presStyleCnt="3"/>
      <dgm:spPr/>
      <dgm:t>
        <a:bodyPr/>
        <a:lstStyle/>
        <a:p>
          <a:endParaRPr lang="ru-RU"/>
        </a:p>
      </dgm:t>
    </dgm:pt>
    <dgm:pt modelId="{6E915E17-9ACF-40FC-B27F-8C094395807A}" type="pres">
      <dgm:prSet presAssocID="{BDB6A80F-218B-4D0D-9001-99797B900FEE}" presName="hierChild4" presStyleCnt="0"/>
      <dgm:spPr/>
      <dgm:t>
        <a:bodyPr/>
        <a:lstStyle/>
        <a:p>
          <a:endParaRPr lang="ru-RU"/>
        </a:p>
      </dgm:t>
    </dgm:pt>
    <dgm:pt modelId="{B47DD3EF-0511-429A-AAB6-B96A93E2C493}" type="pres">
      <dgm:prSet presAssocID="{C70EB43D-1B1B-4367-B719-506B3F694134}" presName="Name37" presStyleLbl="parChTrans1D3" presStyleIdx="0" presStyleCnt="9"/>
      <dgm:spPr/>
      <dgm:t>
        <a:bodyPr/>
        <a:lstStyle/>
        <a:p>
          <a:endParaRPr lang="ru-RU"/>
        </a:p>
      </dgm:t>
    </dgm:pt>
    <dgm:pt modelId="{D8607A84-6E06-4597-A531-A1E60BB981DA}" type="pres">
      <dgm:prSet presAssocID="{44DDB750-2FC8-4D6E-96F9-9A2D862A17F3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30AEE0B0-30EB-4C3D-B628-2E508A4A1C8E}" type="pres">
      <dgm:prSet presAssocID="{44DDB750-2FC8-4D6E-96F9-9A2D862A17F3}" presName="rootComposite" presStyleCnt="0"/>
      <dgm:spPr/>
      <dgm:t>
        <a:bodyPr/>
        <a:lstStyle/>
        <a:p>
          <a:endParaRPr lang="ru-RU"/>
        </a:p>
      </dgm:t>
    </dgm:pt>
    <dgm:pt modelId="{040AAB5D-B2B8-44D8-800F-2600232A76F5}" type="pres">
      <dgm:prSet presAssocID="{44DDB750-2FC8-4D6E-96F9-9A2D862A17F3}" presName="rootText" presStyleLbl="node3" presStyleIdx="0" presStyleCnt="9" custScaleX="19232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435CC97-8E53-4057-9F66-6B73ACDC5C06}" type="pres">
      <dgm:prSet presAssocID="{44DDB750-2FC8-4D6E-96F9-9A2D862A17F3}" presName="rootConnector" presStyleLbl="node3" presStyleIdx="0" presStyleCnt="9"/>
      <dgm:spPr/>
      <dgm:t>
        <a:bodyPr/>
        <a:lstStyle/>
        <a:p>
          <a:endParaRPr lang="ru-RU"/>
        </a:p>
      </dgm:t>
    </dgm:pt>
    <dgm:pt modelId="{11B1277E-DD95-472F-B481-D3D7A6106AFB}" type="pres">
      <dgm:prSet presAssocID="{44DDB750-2FC8-4D6E-96F9-9A2D862A17F3}" presName="hierChild4" presStyleCnt="0"/>
      <dgm:spPr/>
      <dgm:t>
        <a:bodyPr/>
        <a:lstStyle/>
        <a:p>
          <a:endParaRPr lang="ru-RU"/>
        </a:p>
      </dgm:t>
    </dgm:pt>
    <dgm:pt modelId="{B25A3227-7122-4B29-A004-25FE34C6C265}" type="pres">
      <dgm:prSet presAssocID="{44DDB750-2FC8-4D6E-96F9-9A2D862A17F3}" presName="hierChild5" presStyleCnt="0"/>
      <dgm:spPr/>
      <dgm:t>
        <a:bodyPr/>
        <a:lstStyle/>
        <a:p>
          <a:endParaRPr lang="ru-RU"/>
        </a:p>
      </dgm:t>
    </dgm:pt>
    <dgm:pt modelId="{E82575A0-4EF5-40BB-A45F-1BBDCD74EFA6}" type="pres">
      <dgm:prSet presAssocID="{AEA6AE8D-A528-4DC6-9A12-765DE5A6A36B}" presName="Name37" presStyleLbl="parChTrans1D3" presStyleIdx="1" presStyleCnt="9"/>
      <dgm:spPr/>
      <dgm:t>
        <a:bodyPr/>
        <a:lstStyle/>
        <a:p>
          <a:endParaRPr lang="ru-RU"/>
        </a:p>
      </dgm:t>
    </dgm:pt>
    <dgm:pt modelId="{66DFFD45-F730-42B6-BA70-6F052F70319B}" type="pres">
      <dgm:prSet presAssocID="{1C240CC1-1323-41FC-9283-3C5FE725E307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62D17318-B20D-4ECF-9F07-0B662E752F10}" type="pres">
      <dgm:prSet presAssocID="{1C240CC1-1323-41FC-9283-3C5FE725E307}" presName="rootComposite" presStyleCnt="0"/>
      <dgm:spPr/>
      <dgm:t>
        <a:bodyPr/>
        <a:lstStyle/>
        <a:p>
          <a:endParaRPr lang="ru-RU"/>
        </a:p>
      </dgm:t>
    </dgm:pt>
    <dgm:pt modelId="{381EC39F-1D0F-4FDC-B4A2-BA956C94EB09}" type="pres">
      <dgm:prSet presAssocID="{1C240CC1-1323-41FC-9283-3C5FE725E307}" presName="rootText" presStyleLbl="node3" presStyleIdx="1" presStyleCnt="9" custScaleX="16755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8016897-4014-4464-87C3-9F6DDCB4A992}" type="pres">
      <dgm:prSet presAssocID="{1C240CC1-1323-41FC-9283-3C5FE725E307}" presName="rootConnector" presStyleLbl="node3" presStyleIdx="1" presStyleCnt="9"/>
      <dgm:spPr/>
      <dgm:t>
        <a:bodyPr/>
        <a:lstStyle/>
        <a:p>
          <a:endParaRPr lang="ru-RU"/>
        </a:p>
      </dgm:t>
    </dgm:pt>
    <dgm:pt modelId="{F83A0A2E-F2F0-4A2C-BF30-1918B4785465}" type="pres">
      <dgm:prSet presAssocID="{1C240CC1-1323-41FC-9283-3C5FE725E307}" presName="hierChild4" presStyleCnt="0"/>
      <dgm:spPr/>
      <dgm:t>
        <a:bodyPr/>
        <a:lstStyle/>
        <a:p>
          <a:endParaRPr lang="ru-RU"/>
        </a:p>
      </dgm:t>
    </dgm:pt>
    <dgm:pt modelId="{AAA616B9-1D5E-4C75-A5DD-0F6BC936910E}" type="pres">
      <dgm:prSet presAssocID="{1C240CC1-1323-41FC-9283-3C5FE725E307}" presName="hierChild5" presStyleCnt="0"/>
      <dgm:spPr/>
      <dgm:t>
        <a:bodyPr/>
        <a:lstStyle/>
        <a:p>
          <a:endParaRPr lang="ru-RU"/>
        </a:p>
      </dgm:t>
    </dgm:pt>
    <dgm:pt modelId="{77366E24-F50E-4360-A95C-716F645266C8}" type="pres">
      <dgm:prSet presAssocID="{AB2DD22E-3D34-45DB-B28C-8053F1AFADEC}" presName="Name37" presStyleLbl="parChTrans1D3" presStyleIdx="2" presStyleCnt="9"/>
      <dgm:spPr/>
      <dgm:t>
        <a:bodyPr/>
        <a:lstStyle/>
        <a:p>
          <a:endParaRPr lang="ru-RU"/>
        </a:p>
      </dgm:t>
    </dgm:pt>
    <dgm:pt modelId="{C964F426-5E64-4A0E-8598-D7601DC0E2DA}" type="pres">
      <dgm:prSet presAssocID="{00F8CD30-BF55-44C3-9329-654F87021A88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05F2EF1C-4E5A-4FA6-82E5-497A681B3283}" type="pres">
      <dgm:prSet presAssocID="{00F8CD30-BF55-44C3-9329-654F87021A88}" presName="rootComposite" presStyleCnt="0"/>
      <dgm:spPr/>
      <dgm:t>
        <a:bodyPr/>
        <a:lstStyle/>
        <a:p>
          <a:endParaRPr lang="ru-RU"/>
        </a:p>
      </dgm:t>
    </dgm:pt>
    <dgm:pt modelId="{BD5E310E-3C71-4B86-BF20-9E40289285BC}" type="pres">
      <dgm:prSet presAssocID="{00F8CD30-BF55-44C3-9329-654F87021A88}" presName="rootText" presStyleLbl="node3" presStyleIdx="2" presStyleCnt="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9E2B258-A9FD-4E87-941C-B90B70E0F55B}" type="pres">
      <dgm:prSet presAssocID="{00F8CD30-BF55-44C3-9329-654F87021A88}" presName="rootConnector" presStyleLbl="node3" presStyleIdx="2" presStyleCnt="9"/>
      <dgm:spPr/>
      <dgm:t>
        <a:bodyPr/>
        <a:lstStyle/>
        <a:p>
          <a:endParaRPr lang="ru-RU"/>
        </a:p>
      </dgm:t>
    </dgm:pt>
    <dgm:pt modelId="{B75B5024-4E97-4317-9642-C35604EF37BE}" type="pres">
      <dgm:prSet presAssocID="{00F8CD30-BF55-44C3-9329-654F87021A88}" presName="hierChild4" presStyleCnt="0"/>
      <dgm:spPr/>
      <dgm:t>
        <a:bodyPr/>
        <a:lstStyle/>
        <a:p>
          <a:endParaRPr lang="ru-RU"/>
        </a:p>
      </dgm:t>
    </dgm:pt>
    <dgm:pt modelId="{9B0EC988-0FDD-4D6E-B32F-BB318617C962}" type="pres">
      <dgm:prSet presAssocID="{00F8CD30-BF55-44C3-9329-654F87021A88}" presName="hierChild5" presStyleCnt="0"/>
      <dgm:spPr/>
      <dgm:t>
        <a:bodyPr/>
        <a:lstStyle/>
        <a:p>
          <a:endParaRPr lang="ru-RU"/>
        </a:p>
      </dgm:t>
    </dgm:pt>
    <dgm:pt modelId="{295EB5E0-4359-408B-9D58-5094CC47A901}" type="pres">
      <dgm:prSet presAssocID="{BDB6A80F-218B-4D0D-9001-99797B900FEE}" presName="hierChild5" presStyleCnt="0"/>
      <dgm:spPr/>
      <dgm:t>
        <a:bodyPr/>
        <a:lstStyle/>
        <a:p>
          <a:endParaRPr lang="ru-RU"/>
        </a:p>
      </dgm:t>
    </dgm:pt>
    <dgm:pt modelId="{7ADBF0B4-360F-4BDF-ABD2-685F984F8B9C}" type="pres">
      <dgm:prSet presAssocID="{A1BD7AE6-1408-47BD-9D31-7DA61E431A7A}" presName="Name37" presStyleLbl="parChTrans1D2" presStyleIdx="1" presStyleCnt="5"/>
      <dgm:spPr/>
      <dgm:t>
        <a:bodyPr/>
        <a:lstStyle/>
        <a:p>
          <a:endParaRPr lang="ru-RU"/>
        </a:p>
      </dgm:t>
    </dgm:pt>
    <dgm:pt modelId="{1ADBAC86-F822-4A84-87B2-D70D2D8BAF48}" type="pres">
      <dgm:prSet presAssocID="{252E0E2A-36F8-405E-87DB-4488E997CE55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27CA66DD-AB40-4490-9B99-E6D7FEC37116}" type="pres">
      <dgm:prSet presAssocID="{252E0E2A-36F8-405E-87DB-4488E997CE55}" presName="rootComposite" presStyleCnt="0"/>
      <dgm:spPr/>
      <dgm:t>
        <a:bodyPr/>
        <a:lstStyle/>
        <a:p>
          <a:endParaRPr lang="ru-RU"/>
        </a:p>
      </dgm:t>
    </dgm:pt>
    <dgm:pt modelId="{5109B5C1-64F0-411A-8C4A-EE10DDB8954B}" type="pres">
      <dgm:prSet presAssocID="{252E0E2A-36F8-405E-87DB-4488E997CE55}" presName="rootText" presStyleLbl="node2" presStyleIdx="1" presStyleCnt="3" custScaleX="182089" custLinFactNeighborX="2457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C6C9DB4-6C74-4E03-99A9-FA428757472B}" type="pres">
      <dgm:prSet presAssocID="{252E0E2A-36F8-405E-87DB-4488E997CE55}" presName="rootConnector" presStyleLbl="node2" presStyleIdx="1" presStyleCnt="3"/>
      <dgm:spPr/>
      <dgm:t>
        <a:bodyPr/>
        <a:lstStyle/>
        <a:p>
          <a:endParaRPr lang="ru-RU"/>
        </a:p>
      </dgm:t>
    </dgm:pt>
    <dgm:pt modelId="{DECC031B-627B-4D35-88E3-EC78138BEF96}" type="pres">
      <dgm:prSet presAssocID="{252E0E2A-36F8-405E-87DB-4488E997CE55}" presName="hierChild4" presStyleCnt="0"/>
      <dgm:spPr/>
      <dgm:t>
        <a:bodyPr/>
        <a:lstStyle/>
        <a:p>
          <a:endParaRPr lang="ru-RU"/>
        </a:p>
      </dgm:t>
    </dgm:pt>
    <dgm:pt modelId="{954D732B-A74E-4F20-BC66-A3D2007434B0}" type="pres">
      <dgm:prSet presAssocID="{C4F4A99A-5BE0-4E6C-B2A5-487ED58ADFE9}" presName="Name37" presStyleLbl="parChTrans1D3" presStyleIdx="3" presStyleCnt="9"/>
      <dgm:spPr/>
      <dgm:t>
        <a:bodyPr/>
        <a:lstStyle/>
        <a:p>
          <a:endParaRPr lang="ru-RU"/>
        </a:p>
      </dgm:t>
    </dgm:pt>
    <dgm:pt modelId="{2E81D6F7-CF94-488D-BD5E-0400739BFDBB}" type="pres">
      <dgm:prSet presAssocID="{F08A5581-CFAF-42AC-BF84-CE79AC5E4EBC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7E8A97AE-56BD-4BC0-9ECB-95E42A22F65B}" type="pres">
      <dgm:prSet presAssocID="{F08A5581-CFAF-42AC-BF84-CE79AC5E4EBC}" presName="rootComposite" presStyleCnt="0"/>
      <dgm:spPr/>
      <dgm:t>
        <a:bodyPr/>
        <a:lstStyle/>
        <a:p>
          <a:endParaRPr lang="ru-RU"/>
        </a:p>
      </dgm:t>
    </dgm:pt>
    <dgm:pt modelId="{061961E1-1E99-416F-8BBC-A87CB4089607}" type="pres">
      <dgm:prSet presAssocID="{F08A5581-CFAF-42AC-BF84-CE79AC5E4EBC}" presName="rootText" presStyleLbl="node3" presStyleIdx="3" presStyleCnt="9" custScaleX="14379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9B3A98C-8FC0-4663-BE9B-23DDD14C15F9}" type="pres">
      <dgm:prSet presAssocID="{F08A5581-CFAF-42AC-BF84-CE79AC5E4EBC}" presName="rootConnector" presStyleLbl="node3" presStyleIdx="3" presStyleCnt="9"/>
      <dgm:spPr/>
      <dgm:t>
        <a:bodyPr/>
        <a:lstStyle/>
        <a:p>
          <a:endParaRPr lang="ru-RU"/>
        </a:p>
      </dgm:t>
    </dgm:pt>
    <dgm:pt modelId="{1983A97C-918D-4235-9B3B-AB12F5E04003}" type="pres">
      <dgm:prSet presAssocID="{F08A5581-CFAF-42AC-BF84-CE79AC5E4EBC}" presName="hierChild4" presStyleCnt="0"/>
      <dgm:spPr/>
      <dgm:t>
        <a:bodyPr/>
        <a:lstStyle/>
        <a:p>
          <a:endParaRPr lang="ru-RU"/>
        </a:p>
      </dgm:t>
    </dgm:pt>
    <dgm:pt modelId="{C2F1E707-5464-4025-B523-3E54595284CB}" type="pres">
      <dgm:prSet presAssocID="{F08A5581-CFAF-42AC-BF84-CE79AC5E4EBC}" presName="hierChild5" presStyleCnt="0"/>
      <dgm:spPr/>
      <dgm:t>
        <a:bodyPr/>
        <a:lstStyle/>
        <a:p>
          <a:endParaRPr lang="ru-RU"/>
        </a:p>
      </dgm:t>
    </dgm:pt>
    <dgm:pt modelId="{C5AA669D-7B31-4F22-AFF3-15C836AEB8FD}" type="pres">
      <dgm:prSet presAssocID="{C0EC8397-F9BB-490F-9C27-AD50D33FCE99}" presName="Name37" presStyleLbl="parChTrans1D3" presStyleIdx="4" presStyleCnt="9"/>
      <dgm:spPr/>
      <dgm:t>
        <a:bodyPr/>
        <a:lstStyle/>
        <a:p>
          <a:endParaRPr lang="ru-RU"/>
        </a:p>
      </dgm:t>
    </dgm:pt>
    <dgm:pt modelId="{BFA602C9-30CD-499F-92F0-176DD21E9349}" type="pres">
      <dgm:prSet presAssocID="{9E70E1CE-7182-4389-8976-DA78E2213D4E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8946A19F-D972-4D18-9FF6-FF2231DCB558}" type="pres">
      <dgm:prSet presAssocID="{9E70E1CE-7182-4389-8976-DA78E2213D4E}" presName="rootComposite" presStyleCnt="0"/>
      <dgm:spPr/>
      <dgm:t>
        <a:bodyPr/>
        <a:lstStyle/>
        <a:p>
          <a:endParaRPr lang="ru-RU"/>
        </a:p>
      </dgm:t>
    </dgm:pt>
    <dgm:pt modelId="{C19C5CB4-08ED-48AE-98B1-06B25F2749BC}" type="pres">
      <dgm:prSet presAssocID="{9E70E1CE-7182-4389-8976-DA78E2213D4E}" presName="rootText" presStyleLbl="node3" presStyleIdx="4" presStyleCnt="9" custScaleX="13879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B0380E4-9AE5-4AEB-AFC2-0469C63E6EB9}" type="pres">
      <dgm:prSet presAssocID="{9E70E1CE-7182-4389-8976-DA78E2213D4E}" presName="rootConnector" presStyleLbl="node3" presStyleIdx="4" presStyleCnt="9"/>
      <dgm:spPr/>
      <dgm:t>
        <a:bodyPr/>
        <a:lstStyle/>
        <a:p>
          <a:endParaRPr lang="ru-RU"/>
        </a:p>
      </dgm:t>
    </dgm:pt>
    <dgm:pt modelId="{16B6967C-385B-4D8B-8C71-31FDCC551637}" type="pres">
      <dgm:prSet presAssocID="{9E70E1CE-7182-4389-8976-DA78E2213D4E}" presName="hierChild4" presStyleCnt="0"/>
      <dgm:spPr/>
      <dgm:t>
        <a:bodyPr/>
        <a:lstStyle/>
        <a:p>
          <a:endParaRPr lang="ru-RU"/>
        </a:p>
      </dgm:t>
    </dgm:pt>
    <dgm:pt modelId="{E1E56F5F-A642-4A7E-9F9F-3B52ED6DBA1C}" type="pres">
      <dgm:prSet presAssocID="{9E70E1CE-7182-4389-8976-DA78E2213D4E}" presName="hierChild5" presStyleCnt="0"/>
      <dgm:spPr/>
      <dgm:t>
        <a:bodyPr/>
        <a:lstStyle/>
        <a:p>
          <a:endParaRPr lang="ru-RU"/>
        </a:p>
      </dgm:t>
    </dgm:pt>
    <dgm:pt modelId="{D16F240C-471E-43EE-8E42-BBE82B60C6A0}" type="pres">
      <dgm:prSet presAssocID="{057717F8-12C5-4007-8417-B84BB3F070B9}" presName="Name37" presStyleLbl="parChTrans1D3" presStyleIdx="5" presStyleCnt="9"/>
      <dgm:spPr/>
      <dgm:t>
        <a:bodyPr/>
        <a:lstStyle/>
        <a:p>
          <a:endParaRPr lang="ru-RU"/>
        </a:p>
      </dgm:t>
    </dgm:pt>
    <dgm:pt modelId="{35E65645-F7C8-4231-A836-508459BEFBF4}" type="pres">
      <dgm:prSet presAssocID="{26065799-DD5A-40BC-B0DF-1914115DD78C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2BBFFC64-58B1-40D2-9264-704C522D57B9}" type="pres">
      <dgm:prSet presAssocID="{26065799-DD5A-40BC-B0DF-1914115DD78C}" presName="rootComposite" presStyleCnt="0"/>
      <dgm:spPr/>
      <dgm:t>
        <a:bodyPr/>
        <a:lstStyle/>
        <a:p>
          <a:endParaRPr lang="ru-RU"/>
        </a:p>
      </dgm:t>
    </dgm:pt>
    <dgm:pt modelId="{4BC314D7-40E8-4675-97CC-5D250CD57794}" type="pres">
      <dgm:prSet presAssocID="{26065799-DD5A-40BC-B0DF-1914115DD78C}" presName="rootText" presStyleLbl="node3" presStyleIdx="5" presStyleCnt="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D3BDBBF-5254-4179-9BAA-2E1E9D1F8007}" type="pres">
      <dgm:prSet presAssocID="{26065799-DD5A-40BC-B0DF-1914115DD78C}" presName="rootConnector" presStyleLbl="node3" presStyleIdx="5" presStyleCnt="9"/>
      <dgm:spPr/>
      <dgm:t>
        <a:bodyPr/>
        <a:lstStyle/>
        <a:p>
          <a:endParaRPr lang="ru-RU"/>
        </a:p>
      </dgm:t>
    </dgm:pt>
    <dgm:pt modelId="{3BE41553-E7E2-4FB8-B3E8-F24CFB9484D3}" type="pres">
      <dgm:prSet presAssocID="{26065799-DD5A-40BC-B0DF-1914115DD78C}" presName="hierChild4" presStyleCnt="0"/>
      <dgm:spPr/>
      <dgm:t>
        <a:bodyPr/>
        <a:lstStyle/>
        <a:p>
          <a:endParaRPr lang="ru-RU"/>
        </a:p>
      </dgm:t>
    </dgm:pt>
    <dgm:pt modelId="{9F944E97-58E8-4EC3-AB1F-6BB11B5BC779}" type="pres">
      <dgm:prSet presAssocID="{26065799-DD5A-40BC-B0DF-1914115DD78C}" presName="hierChild5" presStyleCnt="0"/>
      <dgm:spPr/>
      <dgm:t>
        <a:bodyPr/>
        <a:lstStyle/>
        <a:p>
          <a:endParaRPr lang="ru-RU"/>
        </a:p>
      </dgm:t>
    </dgm:pt>
    <dgm:pt modelId="{111FC96F-6C52-4515-98FE-7833A966BBF7}" type="pres">
      <dgm:prSet presAssocID="{252E0E2A-36F8-405E-87DB-4488E997CE55}" presName="hierChild5" presStyleCnt="0"/>
      <dgm:spPr/>
      <dgm:t>
        <a:bodyPr/>
        <a:lstStyle/>
        <a:p>
          <a:endParaRPr lang="ru-RU"/>
        </a:p>
      </dgm:t>
    </dgm:pt>
    <dgm:pt modelId="{C41EEE41-6E25-4212-851E-0F79C9C0843C}" type="pres">
      <dgm:prSet presAssocID="{7B9D735B-8E01-442C-884C-066F1BA8DF6F}" presName="Name37" presStyleLbl="parChTrans1D2" presStyleIdx="2" presStyleCnt="5"/>
      <dgm:spPr/>
      <dgm:t>
        <a:bodyPr/>
        <a:lstStyle/>
        <a:p>
          <a:endParaRPr lang="ru-RU"/>
        </a:p>
      </dgm:t>
    </dgm:pt>
    <dgm:pt modelId="{30ABAF12-ECFB-4536-9654-9D17915E7262}" type="pres">
      <dgm:prSet presAssocID="{8811415E-8300-41BB-923F-CE5A21B71E40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1B4BF8A8-6EDE-445B-8F2E-459166969CB4}" type="pres">
      <dgm:prSet presAssocID="{8811415E-8300-41BB-923F-CE5A21B71E40}" presName="rootComposite" presStyleCnt="0"/>
      <dgm:spPr/>
      <dgm:t>
        <a:bodyPr/>
        <a:lstStyle/>
        <a:p>
          <a:endParaRPr lang="ru-RU"/>
        </a:p>
      </dgm:t>
    </dgm:pt>
    <dgm:pt modelId="{D648D375-7289-4207-AE79-E9F00AA79165}" type="pres">
      <dgm:prSet presAssocID="{8811415E-8300-41BB-923F-CE5A21B71E40}" presName="rootText" presStyleLbl="node2" presStyleIdx="2" presStyleCnt="3" custScaleX="257147" custLinFactNeighborX="12439" custLinFactNeighborY="576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195345E-1860-4465-A048-212DABF87BD5}" type="pres">
      <dgm:prSet presAssocID="{8811415E-8300-41BB-923F-CE5A21B71E40}" presName="rootConnector" presStyleLbl="node2" presStyleIdx="2" presStyleCnt="3"/>
      <dgm:spPr/>
      <dgm:t>
        <a:bodyPr/>
        <a:lstStyle/>
        <a:p>
          <a:endParaRPr lang="ru-RU"/>
        </a:p>
      </dgm:t>
    </dgm:pt>
    <dgm:pt modelId="{A82DCE93-CCB7-4D55-8D32-2AC3AE1DBC0C}" type="pres">
      <dgm:prSet presAssocID="{8811415E-8300-41BB-923F-CE5A21B71E40}" presName="hierChild4" presStyleCnt="0"/>
      <dgm:spPr/>
      <dgm:t>
        <a:bodyPr/>
        <a:lstStyle/>
        <a:p>
          <a:endParaRPr lang="ru-RU"/>
        </a:p>
      </dgm:t>
    </dgm:pt>
    <dgm:pt modelId="{94F4DA66-7C2B-4199-A686-8492C8A49F52}" type="pres">
      <dgm:prSet presAssocID="{80EA8E5C-AE75-48BB-92B7-A456C8864070}" presName="Name37" presStyleLbl="parChTrans1D3" presStyleIdx="6" presStyleCnt="9"/>
      <dgm:spPr/>
      <dgm:t>
        <a:bodyPr/>
        <a:lstStyle/>
        <a:p>
          <a:endParaRPr lang="ru-RU"/>
        </a:p>
      </dgm:t>
    </dgm:pt>
    <dgm:pt modelId="{C2FF522F-F58A-495C-BF9D-7A9F0B4CCF8F}" type="pres">
      <dgm:prSet presAssocID="{D3B6F5D4-014E-499C-837A-7A2D6D00987E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D438BBAA-6891-45C1-BD21-AB185B66570E}" type="pres">
      <dgm:prSet presAssocID="{D3B6F5D4-014E-499C-837A-7A2D6D00987E}" presName="rootComposite" presStyleCnt="0"/>
      <dgm:spPr/>
      <dgm:t>
        <a:bodyPr/>
        <a:lstStyle/>
        <a:p>
          <a:endParaRPr lang="ru-RU"/>
        </a:p>
      </dgm:t>
    </dgm:pt>
    <dgm:pt modelId="{1660D98B-1174-4F83-986F-AE8B89029297}" type="pres">
      <dgm:prSet presAssocID="{D3B6F5D4-014E-499C-837A-7A2D6D00987E}" presName="rootText" presStyleLbl="node3" presStyleIdx="6" presStyleCnt="9" custScaleX="20052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2C33095-FAAB-4805-9D54-90445749FEB9}" type="pres">
      <dgm:prSet presAssocID="{D3B6F5D4-014E-499C-837A-7A2D6D00987E}" presName="rootConnector" presStyleLbl="node3" presStyleIdx="6" presStyleCnt="9"/>
      <dgm:spPr/>
      <dgm:t>
        <a:bodyPr/>
        <a:lstStyle/>
        <a:p>
          <a:endParaRPr lang="ru-RU"/>
        </a:p>
      </dgm:t>
    </dgm:pt>
    <dgm:pt modelId="{E39BB110-6C86-43D6-A5F6-D3833A65809A}" type="pres">
      <dgm:prSet presAssocID="{D3B6F5D4-014E-499C-837A-7A2D6D00987E}" presName="hierChild4" presStyleCnt="0"/>
      <dgm:spPr/>
      <dgm:t>
        <a:bodyPr/>
        <a:lstStyle/>
        <a:p>
          <a:endParaRPr lang="ru-RU"/>
        </a:p>
      </dgm:t>
    </dgm:pt>
    <dgm:pt modelId="{E6D9E050-2561-402A-94F1-0C3C3937E258}" type="pres">
      <dgm:prSet presAssocID="{D3B6F5D4-014E-499C-837A-7A2D6D00987E}" presName="hierChild5" presStyleCnt="0"/>
      <dgm:spPr/>
      <dgm:t>
        <a:bodyPr/>
        <a:lstStyle/>
        <a:p>
          <a:endParaRPr lang="ru-RU"/>
        </a:p>
      </dgm:t>
    </dgm:pt>
    <dgm:pt modelId="{25D89B75-B02A-4833-8493-F3BF4C93BD5D}" type="pres">
      <dgm:prSet presAssocID="{5EA64C42-9C2D-46E2-B557-C8BA0EF753D9}" presName="Name37" presStyleLbl="parChTrans1D3" presStyleIdx="7" presStyleCnt="9"/>
      <dgm:spPr/>
      <dgm:t>
        <a:bodyPr/>
        <a:lstStyle/>
        <a:p>
          <a:endParaRPr lang="ru-RU"/>
        </a:p>
      </dgm:t>
    </dgm:pt>
    <dgm:pt modelId="{A0E12ED1-B4BE-47B8-B92D-598090DCDD8A}" type="pres">
      <dgm:prSet presAssocID="{26DE4F92-BABC-48BD-956C-845C73CBACE3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5995034E-6B46-4C4D-867D-2E62251475C2}" type="pres">
      <dgm:prSet presAssocID="{26DE4F92-BABC-48BD-956C-845C73CBACE3}" presName="rootComposite" presStyleCnt="0"/>
      <dgm:spPr/>
      <dgm:t>
        <a:bodyPr/>
        <a:lstStyle/>
        <a:p>
          <a:endParaRPr lang="ru-RU"/>
        </a:p>
      </dgm:t>
    </dgm:pt>
    <dgm:pt modelId="{838267CF-C4CF-44F1-8110-D602B61B202A}" type="pres">
      <dgm:prSet presAssocID="{26DE4F92-BABC-48BD-956C-845C73CBACE3}" presName="rootText" presStyleLbl="node3" presStyleIdx="7" presStyleCnt="9" custScaleX="209929" custLinFactNeighborX="-980" custLinFactNeighborY="-145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11EBA0A-7EDC-4E4B-A72F-E01090E4C984}" type="pres">
      <dgm:prSet presAssocID="{26DE4F92-BABC-48BD-956C-845C73CBACE3}" presName="rootConnector" presStyleLbl="node3" presStyleIdx="7" presStyleCnt="9"/>
      <dgm:spPr/>
      <dgm:t>
        <a:bodyPr/>
        <a:lstStyle/>
        <a:p>
          <a:endParaRPr lang="ru-RU"/>
        </a:p>
      </dgm:t>
    </dgm:pt>
    <dgm:pt modelId="{D96FCE0C-B270-47E3-8AA6-944B451AE654}" type="pres">
      <dgm:prSet presAssocID="{26DE4F92-BABC-48BD-956C-845C73CBACE3}" presName="hierChild4" presStyleCnt="0"/>
      <dgm:spPr/>
      <dgm:t>
        <a:bodyPr/>
        <a:lstStyle/>
        <a:p>
          <a:endParaRPr lang="ru-RU"/>
        </a:p>
      </dgm:t>
    </dgm:pt>
    <dgm:pt modelId="{58F33591-B5EA-4252-94AE-D8AB162B5BFF}" type="pres">
      <dgm:prSet presAssocID="{26DE4F92-BABC-48BD-956C-845C73CBACE3}" presName="hierChild5" presStyleCnt="0"/>
      <dgm:spPr/>
      <dgm:t>
        <a:bodyPr/>
        <a:lstStyle/>
        <a:p>
          <a:endParaRPr lang="ru-RU"/>
        </a:p>
      </dgm:t>
    </dgm:pt>
    <dgm:pt modelId="{964A5DAE-4FC7-44E6-B112-C26AF5CE6F7C}" type="pres">
      <dgm:prSet presAssocID="{15A980A7-6672-475E-B1EF-77C01271EEB0}" presName="Name37" presStyleLbl="parChTrans1D3" presStyleIdx="8" presStyleCnt="9"/>
      <dgm:spPr/>
      <dgm:t>
        <a:bodyPr/>
        <a:lstStyle/>
        <a:p>
          <a:endParaRPr lang="ru-RU"/>
        </a:p>
      </dgm:t>
    </dgm:pt>
    <dgm:pt modelId="{84426E4F-5771-49AF-9DD0-03D3D7D6C347}" type="pres">
      <dgm:prSet presAssocID="{4F0D1846-AFC8-4116-91E1-47308184E5A9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9AEEFA97-1AED-4EA1-AE2E-0CEE158700B2}" type="pres">
      <dgm:prSet presAssocID="{4F0D1846-AFC8-4116-91E1-47308184E5A9}" presName="rootComposite" presStyleCnt="0"/>
      <dgm:spPr/>
      <dgm:t>
        <a:bodyPr/>
        <a:lstStyle/>
        <a:p>
          <a:endParaRPr lang="ru-RU"/>
        </a:p>
      </dgm:t>
    </dgm:pt>
    <dgm:pt modelId="{CBCBC793-891D-4CA9-AB1C-F041AE9CA8E7}" type="pres">
      <dgm:prSet presAssocID="{4F0D1846-AFC8-4116-91E1-47308184E5A9}" presName="rootText" presStyleLbl="node3" presStyleIdx="8" presStyleCnt="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30B8193-9E1D-46CB-BE47-13E5E0AD640F}" type="pres">
      <dgm:prSet presAssocID="{4F0D1846-AFC8-4116-91E1-47308184E5A9}" presName="rootConnector" presStyleLbl="node3" presStyleIdx="8" presStyleCnt="9"/>
      <dgm:spPr/>
      <dgm:t>
        <a:bodyPr/>
        <a:lstStyle/>
        <a:p>
          <a:endParaRPr lang="ru-RU"/>
        </a:p>
      </dgm:t>
    </dgm:pt>
    <dgm:pt modelId="{D78F74A1-05EF-4CC6-911E-286C07880075}" type="pres">
      <dgm:prSet presAssocID="{4F0D1846-AFC8-4116-91E1-47308184E5A9}" presName="hierChild4" presStyleCnt="0"/>
      <dgm:spPr/>
      <dgm:t>
        <a:bodyPr/>
        <a:lstStyle/>
        <a:p>
          <a:endParaRPr lang="ru-RU"/>
        </a:p>
      </dgm:t>
    </dgm:pt>
    <dgm:pt modelId="{F5E210FD-C6D7-41DD-BA51-E18BD9EFB7E8}" type="pres">
      <dgm:prSet presAssocID="{4F0D1846-AFC8-4116-91E1-47308184E5A9}" presName="hierChild5" presStyleCnt="0"/>
      <dgm:spPr/>
      <dgm:t>
        <a:bodyPr/>
        <a:lstStyle/>
        <a:p>
          <a:endParaRPr lang="ru-RU"/>
        </a:p>
      </dgm:t>
    </dgm:pt>
    <dgm:pt modelId="{7C70B9D1-C986-4758-8599-E00AEF3D4A73}" type="pres">
      <dgm:prSet presAssocID="{8811415E-8300-41BB-923F-CE5A21B71E40}" presName="hierChild5" presStyleCnt="0"/>
      <dgm:spPr/>
      <dgm:t>
        <a:bodyPr/>
        <a:lstStyle/>
        <a:p>
          <a:endParaRPr lang="ru-RU"/>
        </a:p>
      </dgm:t>
    </dgm:pt>
    <dgm:pt modelId="{0ADBA20E-1DE8-40C5-841A-53291B059F23}" type="pres">
      <dgm:prSet presAssocID="{6BEB9EC9-1B1C-454E-8487-4779A7C98514}" presName="hierChild3" presStyleCnt="0"/>
      <dgm:spPr/>
      <dgm:t>
        <a:bodyPr/>
        <a:lstStyle/>
        <a:p>
          <a:endParaRPr lang="ru-RU"/>
        </a:p>
      </dgm:t>
    </dgm:pt>
    <dgm:pt modelId="{6D2CD0C0-C8DF-40DB-B0D9-0FA1BF1FD55A}" type="pres">
      <dgm:prSet presAssocID="{59F3C2F6-5223-4A29-B830-629BD2D97073}" presName="Name111" presStyleLbl="parChTrans1D2" presStyleIdx="3" presStyleCnt="5"/>
      <dgm:spPr/>
      <dgm:t>
        <a:bodyPr/>
        <a:lstStyle/>
        <a:p>
          <a:endParaRPr lang="ru-RU"/>
        </a:p>
      </dgm:t>
    </dgm:pt>
    <dgm:pt modelId="{0CC94125-C05D-4FE4-A198-0A3948DA430D}" type="pres">
      <dgm:prSet presAssocID="{A73F0C3A-905D-47C8-8931-FFA310586310}" presName="hierRoot3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2D321ACF-694B-4932-9812-CFF32918E4A7}" type="pres">
      <dgm:prSet presAssocID="{A73F0C3A-905D-47C8-8931-FFA310586310}" presName="rootComposite3" presStyleCnt="0"/>
      <dgm:spPr/>
      <dgm:t>
        <a:bodyPr/>
        <a:lstStyle/>
        <a:p>
          <a:endParaRPr lang="ru-RU"/>
        </a:p>
      </dgm:t>
    </dgm:pt>
    <dgm:pt modelId="{DBBFDB82-DBB8-4EF1-8802-AB3FC8C03278}" type="pres">
      <dgm:prSet presAssocID="{A73F0C3A-905D-47C8-8931-FFA310586310}" presName="rootText3" presStyleLbl="asst1" presStyleIdx="0" presStyleCnt="2" custScaleX="287787" custScaleY="72151" custLinFactNeighborX="1334" custLinFactNeighborY="-3607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C14B5EE-B266-4093-B4CF-8D3B0AB1A1B5}" type="pres">
      <dgm:prSet presAssocID="{A73F0C3A-905D-47C8-8931-FFA310586310}" presName="rootConnector3" presStyleLbl="asst1" presStyleIdx="0" presStyleCnt="2"/>
      <dgm:spPr/>
      <dgm:t>
        <a:bodyPr/>
        <a:lstStyle/>
        <a:p>
          <a:endParaRPr lang="ru-RU"/>
        </a:p>
      </dgm:t>
    </dgm:pt>
    <dgm:pt modelId="{3B693F13-DC4F-4E07-B8D6-00B3D98EFDC4}" type="pres">
      <dgm:prSet presAssocID="{A73F0C3A-905D-47C8-8931-FFA310586310}" presName="hierChild6" presStyleCnt="0"/>
      <dgm:spPr/>
      <dgm:t>
        <a:bodyPr/>
        <a:lstStyle/>
        <a:p>
          <a:endParaRPr lang="ru-RU"/>
        </a:p>
      </dgm:t>
    </dgm:pt>
    <dgm:pt modelId="{3528FFDE-10FE-4561-B57F-F0122E49A71A}" type="pres">
      <dgm:prSet presAssocID="{A73F0C3A-905D-47C8-8931-FFA310586310}" presName="hierChild7" presStyleCnt="0"/>
      <dgm:spPr/>
      <dgm:t>
        <a:bodyPr/>
        <a:lstStyle/>
        <a:p>
          <a:endParaRPr lang="ru-RU"/>
        </a:p>
      </dgm:t>
    </dgm:pt>
    <dgm:pt modelId="{C812E287-2CC8-44D3-BB0C-3208BD251FBD}" type="pres">
      <dgm:prSet presAssocID="{3D6A7877-E7E9-461A-94F2-9F10D524D876}" presName="Name111" presStyleLbl="parChTrans1D2" presStyleIdx="4" presStyleCnt="5"/>
      <dgm:spPr/>
      <dgm:t>
        <a:bodyPr/>
        <a:lstStyle/>
        <a:p>
          <a:endParaRPr lang="ru-RU"/>
        </a:p>
      </dgm:t>
    </dgm:pt>
    <dgm:pt modelId="{24E88E14-440A-4EA0-A234-0ADA18B29B4F}" type="pres">
      <dgm:prSet presAssocID="{345B3ED3-BEEA-46E0-A529-291D8E1073EB}" presName="hierRoot3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1A49A4A8-9B30-4EF6-88C8-1370F92B107F}" type="pres">
      <dgm:prSet presAssocID="{345B3ED3-BEEA-46E0-A529-291D8E1073EB}" presName="rootComposite3" presStyleCnt="0"/>
      <dgm:spPr/>
      <dgm:t>
        <a:bodyPr/>
        <a:lstStyle/>
        <a:p>
          <a:endParaRPr lang="ru-RU"/>
        </a:p>
      </dgm:t>
    </dgm:pt>
    <dgm:pt modelId="{46D88072-1300-4952-B250-852A8A0EA5FF}" type="pres">
      <dgm:prSet presAssocID="{345B3ED3-BEEA-46E0-A529-291D8E1073EB}" presName="rootText3" presStyleLbl="asst1" presStyleIdx="1" presStyleCnt="2" custScaleX="297635" custScaleY="8658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3BF091B-4C87-4A07-8670-CF49BC87BD65}" type="pres">
      <dgm:prSet presAssocID="{345B3ED3-BEEA-46E0-A529-291D8E1073EB}" presName="rootConnector3" presStyleLbl="asst1" presStyleIdx="1" presStyleCnt="2"/>
      <dgm:spPr/>
      <dgm:t>
        <a:bodyPr/>
        <a:lstStyle/>
        <a:p>
          <a:endParaRPr lang="ru-RU"/>
        </a:p>
      </dgm:t>
    </dgm:pt>
    <dgm:pt modelId="{97F25404-FC84-450D-8951-4E955E43E8E5}" type="pres">
      <dgm:prSet presAssocID="{345B3ED3-BEEA-46E0-A529-291D8E1073EB}" presName="hierChild6" presStyleCnt="0"/>
      <dgm:spPr/>
      <dgm:t>
        <a:bodyPr/>
        <a:lstStyle/>
        <a:p>
          <a:endParaRPr lang="ru-RU"/>
        </a:p>
      </dgm:t>
    </dgm:pt>
    <dgm:pt modelId="{3A712FDA-CF02-4EEC-8EAB-66C1DE004414}" type="pres">
      <dgm:prSet presAssocID="{345B3ED3-BEEA-46E0-A529-291D8E1073EB}" presName="hierChild7" presStyleCnt="0"/>
      <dgm:spPr/>
      <dgm:t>
        <a:bodyPr/>
        <a:lstStyle/>
        <a:p>
          <a:endParaRPr lang="ru-RU"/>
        </a:p>
      </dgm:t>
    </dgm:pt>
  </dgm:ptLst>
  <dgm:cxnLst>
    <dgm:cxn modelId="{944750C7-FC59-4D50-9466-1B88ACC50360}" type="presOf" srcId="{6BEB9EC9-1B1C-454E-8487-4779A7C98514}" destId="{976733B0-5C0F-4626-B169-355447CCF9F9}" srcOrd="0" destOrd="0" presId="urn:microsoft.com/office/officeart/2005/8/layout/orgChart1"/>
    <dgm:cxn modelId="{28A78BB8-2D51-40CC-8FB1-2775E3EEC68C}" srcId="{6BEB9EC9-1B1C-454E-8487-4779A7C98514}" destId="{8811415E-8300-41BB-923F-CE5A21B71E40}" srcOrd="4" destOrd="0" parTransId="{7B9D735B-8E01-442C-884C-066F1BA8DF6F}" sibTransId="{D3BE961B-FECD-4B97-A4F8-C92C96200863}"/>
    <dgm:cxn modelId="{D25B20C6-5A87-4E92-BAA9-51B853547C7C}" type="presOf" srcId="{44DDB750-2FC8-4D6E-96F9-9A2D862A17F3}" destId="{C435CC97-8E53-4057-9F66-6B73ACDC5C06}" srcOrd="1" destOrd="0" presId="urn:microsoft.com/office/officeart/2005/8/layout/orgChart1"/>
    <dgm:cxn modelId="{58D9CCA5-8994-4F01-8B57-4C6A1D9EEB45}" type="presOf" srcId="{7B9D735B-8E01-442C-884C-066F1BA8DF6F}" destId="{C41EEE41-6E25-4212-851E-0F79C9C0843C}" srcOrd="0" destOrd="0" presId="urn:microsoft.com/office/officeart/2005/8/layout/orgChart1"/>
    <dgm:cxn modelId="{806FF6F7-1E6A-4E63-9A07-054FCF9453DB}" type="presOf" srcId="{44DDB750-2FC8-4D6E-96F9-9A2D862A17F3}" destId="{040AAB5D-B2B8-44D8-800F-2600232A76F5}" srcOrd="0" destOrd="0" presId="urn:microsoft.com/office/officeart/2005/8/layout/orgChart1"/>
    <dgm:cxn modelId="{298D3571-20BB-495F-BB18-FEC17E64074C}" type="presOf" srcId="{BDB6A80F-218B-4D0D-9001-99797B900FEE}" destId="{552B00D1-BFD8-4B1E-8FC4-10C3E5B56EE2}" srcOrd="0" destOrd="0" presId="urn:microsoft.com/office/officeart/2005/8/layout/orgChart1"/>
    <dgm:cxn modelId="{30437E04-72D9-4B6E-A1E9-13AB757E4D5E}" type="presOf" srcId="{11CFF56D-CB2C-4E3B-B85B-E7C7CA40D82B}" destId="{D70859DF-75E6-4500-8AAF-578F147C722A}" srcOrd="0" destOrd="0" presId="urn:microsoft.com/office/officeart/2005/8/layout/orgChart1"/>
    <dgm:cxn modelId="{4EF840A3-BD24-42FD-BA62-82EB3C5F3C00}" type="presOf" srcId="{AB2DD22E-3D34-45DB-B28C-8053F1AFADEC}" destId="{77366E24-F50E-4360-A95C-716F645266C8}" srcOrd="0" destOrd="0" presId="urn:microsoft.com/office/officeart/2005/8/layout/orgChart1"/>
    <dgm:cxn modelId="{2504C164-AB69-4E14-AC9B-08CC63663DBC}" type="presOf" srcId="{4F0D1846-AFC8-4116-91E1-47308184E5A9}" destId="{130B8193-9E1D-46CB-BE47-13E5E0AD640F}" srcOrd="1" destOrd="0" presId="urn:microsoft.com/office/officeart/2005/8/layout/orgChart1"/>
    <dgm:cxn modelId="{66E45133-49A1-48CD-AE70-DD0E26A83C82}" type="presOf" srcId="{D3B6F5D4-014E-499C-837A-7A2D6D00987E}" destId="{1660D98B-1174-4F83-986F-AE8B89029297}" srcOrd="0" destOrd="0" presId="urn:microsoft.com/office/officeart/2005/8/layout/orgChart1"/>
    <dgm:cxn modelId="{E5321F74-C4B5-470D-8FED-8F53A1F8F2E1}" type="presOf" srcId="{1C240CC1-1323-41FC-9283-3C5FE725E307}" destId="{381EC39F-1D0F-4FDC-B4A2-BA956C94EB09}" srcOrd="0" destOrd="0" presId="urn:microsoft.com/office/officeart/2005/8/layout/orgChart1"/>
    <dgm:cxn modelId="{593A9E03-A730-4312-B6DB-F7980AC69FE1}" type="presOf" srcId="{26DE4F92-BABC-48BD-956C-845C73CBACE3}" destId="{838267CF-C4CF-44F1-8110-D602B61B202A}" srcOrd="0" destOrd="0" presId="urn:microsoft.com/office/officeart/2005/8/layout/orgChart1"/>
    <dgm:cxn modelId="{27722C08-5188-4F8A-B347-605F8224222A}" srcId="{6BEB9EC9-1B1C-454E-8487-4779A7C98514}" destId="{345B3ED3-BEEA-46E0-A529-291D8E1073EB}" srcOrd="1" destOrd="0" parTransId="{3D6A7877-E7E9-461A-94F2-9F10D524D876}" sibTransId="{64494CDD-D57A-4C03-B070-84205CDB792D}"/>
    <dgm:cxn modelId="{D78774E6-631F-4FB1-B579-183A2763A5E9}" srcId="{BDB6A80F-218B-4D0D-9001-99797B900FEE}" destId="{00F8CD30-BF55-44C3-9329-654F87021A88}" srcOrd="2" destOrd="0" parTransId="{AB2DD22E-3D34-45DB-B28C-8053F1AFADEC}" sibTransId="{22C60A6B-C913-4AD0-B7AB-D97433F1F0C1}"/>
    <dgm:cxn modelId="{68E95B13-BA43-4FB5-B20E-71F947FFDD80}" type="presOf" srcId="{5EA64C42-9C2D-46E2-B557-C8BA0EF753D9}" destId="{25D89B75-B02A-4833-8493-F3BF4C93BD5D}" srcOrd="0" destOrd="0" presId="urn:microsoft.com/office/officeart/2005/8/layout/orgChart1"/>
    <dgm:cxn modelId="{DCA6A216-4AE9-4446-A547-076310B215B2}" type="presOf" srcId="{D3B6F5D4-014E-499C-837A-7A2D6D00987E}" destId="{92C33095-FAAB-4805-9D54-90445749FEB9}" srcOrd="1" destOrd="0" presId="urn:microsoft.com/office/officeart/2005/8/layout/orgChart1"/>
    <dgm:cxn modelId="{90F4BE90-D77C-440F-B7DA-D0DF6F5C024B}" type="presOf" srcId="{59F3C2F6-5223-4A29-B830-629BD2D97073}" destId="{6D2CD0C0-C8DF-40DB-B0D9-0FA1BF1FD55A}" srcOrd="0" destOrd="0" presId="urn:microsoft.com/office/officeart/2005/8/layout/orgChart1"/>
    <dgm:cxn modelId="{A394E85A-8198-4362-97DA-2B0E87B7417E}" type="presOf" srcId="{80EA8E5C-AE75-48BB-92B7-A456C8864070}" destId="{94F4DA66-7C2B-4199-A686-8492C8A49F52}" srcOrd="0" destOrd="0" presId="urn:microsoft.com/office/officeart/2005/8/layout/orgChart1"/>
    <dgm:cxn modelId="{122852FA-5D7B-4CAF-87B8-FE0E428E00C5}" type="presOf" srcId="{6BEB9EC9-1B1C-454E-8487-4779A7C98514}" destId="{44EC6DCC-E067-42E0-9658-CDDA9604B077}" srcOrd="1" destOrd="0" presId="urn:microsoft.com/office/officeart/2005/8/layout/orgChart1"/>
    <dgm:cxn modelId="{FA7876AB-3C12-4882-8D57-B5D5E219F783}" type="presOf" srcId="{C4F4A99A-5BE0-4E6C-B2A5-487ED58ADFE9}" destId="{954D732B-A74E-4F20-BC66-A3D2007434B0}" srcOrd="0" destOrd="0" presId="urn:microsoft.com/office/officeart/2005/8/layout/orgChart1"/>
    <dgm:cxn modelId="{DBD05AC9-0F76-4E93-B5D4-29FF3436BDA1}" type="presOf" srcId="{A73F0C3A-905D-47C8-8931-FFA310586310}" destId="{9C14B5EE-B266-4093-B4CF-8D3B0AB1A1B5}" srcOrd="1" destOrd="0" presId="urn:microsoft.com/office/officeart/2005/8/layout/orgChart1"/>
    <dgm:cxn modelId="{29C83904-2FA1-4365-A3AC-5337FA08BB10}" srcId="{6BEB9EC9-1B1C-454E-8487-4779A7C98514}" destId="{252E0E2A-36F8-405E-87DB-4488E997CE55}" srcOrd="3" destOrd="0" parTransId="{A1BD7AE6-1408-47BD-9D31-7DA61E431A7A}" sibTransId="{D5A4AF33-B137-4F68-86AE-920288E8D987}"/>
    <dgm:cxn modelId="{1373B521-A32A-47C2-8891-255384370235}" type="presOf" srcId="{A73F0C3A-905D-47C8-8931-FFA310586310}" destId="{DBBFDB82-DBB8-4EF1-8802-AB3FC8C03278}" srcOrd="0" destOrd="0" presId="urn:microsoft.com/office/officeart/2005/8/layout/orgChart1"/>
    <dgm:cxn modelId="{B79FE8A4-7849-4415-9D71-29FFB9B36CCF}" type="presOf" srcId="{345B3ED3-BEEA-46E0-A529-291D8E1073EB}" destId="{46D88072-1300-4952-B250-852A8A0EA5FF}" srcOrd="0" destOrd="0" presId="urn:microsoft.com/office/officeart/2005/8/layout/orgChart1"/>
    <dgm:cxn modelId="{72E8EDE5-F063-4677-BF76-670D4C842E43}" srcId="{22684FE8-40C2-45C1-B237-400F2F0C3F84}" destId="{6BEB9EC9-1B1C-454E-8487-4779A7C98514}" srcOrd="0" destOrd="0" parTransId="{FD5B896F-7AFE-4F52-8F4B-E63D6462C4E6}" sibTransId="{8A2F6C1F-3AB5-42A3-896A-DA92AD5CABC0}"/>
    <dgm:cxn modelId="{78A9828B-8B12-4285-AB46-6426359CA11E}" type="presOf" srcId="{252E0E2A-36F8-405E-87DB-4488E997CE55}" destId="{FC6C9DB4-6C74-4E03-99A9-FA428757472B}" srcOrd="1" destOrd="0" presId="urn:microsoft.com/office/officeart/2005/8/layout/orgChart1"/>
    <dgm:cxn modelId="{184AC53F-C5F5-4456-9DCE-2264DCD73581}" type="presOf" srcId="{26065799-DD5A-40BC-B0DF-1914115DD78C}" destId="{2D3BDBBF-5254-4179-9BAA-2E1E9D1F8007}" srcOrd="1" destOrd="0" presId="urn:microsoft.com/office/officeart/2005/8/layout/orgChart1"/>
    <dgm:cxn modelId="{639A5849-9556-4F0B-9350-5DBA9E37C063}" srcId="{BDB6A80F-218B-4D0D-9001-99797B900FEE}" destId="{1C240CC1-1323-41FC-9283-3C5FE725E307}" srcOrd="1" destOrd="0" parTransId="{AEA6AE8D-A528-4DC6-9A12-765DE5A6A36B}" sibTransId="{040CFA18-4539-4174-85D9-6D9768725432}"/>
    <dgm:cxn modelId="{F7E62529-A41C-48BA-BB3F-6E467A0C054E}" type="presOf" srcId="{22684FE8-40C2-45C1-B237-400F2F0C3F84}" destId="{BE7AA8CB-6166-4BD4-92E7-B5B0D0473778}" srcOrd="0" destOrd="0" presId="urn:microsoft.com/office/officeart/2005/8/layout/orgChart1"/>
    <dgm:cxn modelId="{163C7858-EEEB-4CE0-B831-17332D391BEC}" type="presOf" srcId="{A1BD7AE6-1408-47BD-9D31-7DA61E431A7A}" destId="{7ADBF0B4-360F-4BDF-ABD2-685F984F8B9C}" srcOrd="0" destOrd="0" presId="urn:microsoft.com/office/officeart/2005/8/layout/orgChart1"/>
    <dgm:cxn modelId="{F67EF8E0-8BDD-4B65-8CED-6E0135FBB3B4}" type="presOf" srcId="{9E70E1CE-7182-4389-8976-DA78E2213D4E}" destId="{C19C5CB4-08ED-48AE-98B1-06B25F2749BC}" srcOrd="0" destOrd="0" presId="urn:microsoft.com/office/officeart/2005/8/layout/orgChart1"/>
    <dgm:cxn modelId="{BBE8F4DC-2E5E-42EC-9F4E-F515CFD6731C}" srcId="{6BEB9EC9-1B1C-454E-8487-4779A7C98514}" destId="{BDB6A80F-218B-4D0D-9001-99797B900FEE}" srcOrd="2" destOrd="0" parTransId="{11CFF56D-CB2C-4E3B-B85B-E7C7CA40D82B}" sibTransId="{034F1F81-23F7-41C2-AFE9-C2AE34910CC1}"/>
    <dgm:cxn modelId="{4810C00D-5B50-46D6-B55A-20751E8E88DA}" type="presOf" srcId="{26065799-DD5A-40BC-B0DF-1914115DD78C}" destId="{4BC314D7-40E8-4675-97CC-5D250CD57794}" srcOrd="0" destOrd="0" presId="urn:microsoft.com/office/officeart/2005/8/layout/orgChart1"/>
    <dgm:cxn modelId="{752E7158-643F-4F09-B378-3CC0116A2097}" srcId="{252E0E2A-36F8-405E-87DB-4488E997CE55}" destId="{26065799-DD5A-40BC-B0DF-1914115DD78C}" srcOrd="2" destOrd="0" parTransId="{057717F8-12C5-4007-8417-B84BB3F070B9}" sibTransId="{B6E3DFE5-C898-4A84-8BA6-8CC89AE61D32}"/>
    <dgm:cxn modelId="{B601343F-B022-4761-BFBB-6F7A5CB9B1BE}" srcId="{252E0E2A-36F8-405E-87DB-4488E997CE55}" destId="{F08A5581-CFAF-42AC-BF84-CE79AC5E4EBC}" srcOrd="0" destOrd="0" parTransId="{C4F4A99A-5BE0-4E6C-B2A5-487ED58ADFE9}" sibTransId="{378A080D-D2C1-42F4-9249-B2ED7C168F4F}"/>
    <dgm:cxn modelId="{1EE25F4A-E312-4104-8E88-4A8BF5451005}" type="presOf" srcId="{BDB6A80F-218B-4D0D-9001-99797B900FEE}" destId="{FC933AEE-2A38-4B39-A33A-F5015DD5893C}" srcOrd="1" destOrd="0" presId="urn:microsoft.com/office/officeart/2005/8/layout/orgChart1"/>
    <dgm:cxn modelId="{C2C3B422-F8E6-402C-A2D9-865F97966A16}" type="presOf" srcId="{9E70E1CE-7182-4389-8976-DA78E2213D4E}" destId="{2B0380E4-9AE5-4AEB-AFC2-0469C63E6EB9}" srcOrd="1" destOrd="0" presId="urn:microsoft.com/office/officeart/2005/8/layout/orgChart1"/>
    <dgm:cxn modelId="{C20E5895-EEEB-425C-8CF5-6C698F42806C}" type="presOf" srcId="{3D6A7877-E7E9-461A-94F2-9F10D524D876}" destId="{C812E287-2CC8-44D3-BB0C-3208BD251FBD}" srcOrd="0" destOrd="0" presId="urn:microsoft.com/office/officeart/2005/8/layout/orgChart1"/>
    <dgm:cxn modelId="{6E2FD242-BC83-4C0B-993F-BA7D2FD178C1}" type="presOf" srcId="{8811415E-8300-41BB-923F-CE5A21B71E40}" destId="{D195345E-1860-4465-A048-212DABF87BD5}" srcOrd="1" destOrd="0" presId="urn:microsoft.com/office/officeart/2005/8/layout/orgChart1"/>
    <dgm:cxn modelId="{32F40A06-D829-4CD2-B4EB-6D5B95EDEE0D}" srcId="{8811415E-8300-41BB-923F-CE5A21B71E40}" destId="{4F0D1846-AFC8-4116-91E1-47308184E5A9}" srcOrd="2" destOrd="0" parTransId="{15A980A7-6672-475E-B1EF-77C01271EEB0}" sibTransId="{18E14013-1F1A-44DB-B9A4-8FFAEEAAE96C}"/>
    <dgm:cxn modelId="{2C7E7018-DD16-4186-86A8-84F68F94E19A}" type="presOf" srcId="{AEA6AE8D-A528-4DC6-9A12-765DE5A6A36B}" destId="{E82575A0-4EF5-40BB-A45F-1BBDCD74EFA6}" srcOrd="0" destOrd="0" presId="urn:microsoft.com/office/officeart/2005/8/layout/orgChart1"/>
    <dgm:cxn modelId="{7DD719E6-2FB5-454C-B81B-E25D55DBDF1D}" srcId="{6BEB9EC9-1B1C-454E-8487-4779A7C98514}" destId="{A73F0C3A-905D-47C8-8931-FFA310586310}" srcOrd="0" destOrd="0" parTransId="{59F3C2F6-5223-4A29-B830-629BD2D97073}" sibTransId="{B728791B-22E3-456F-B113-18031C2BD0E2}"/>
    <dgm:cxn modelId="{A14F6568-58C4-4669-81E2-30FB002CB39F}" type="presOf" srcId="{F08A5581-CFAF-42AC-BF84-CE79AC5E4EBC}" destId="{99B3A98C-8FC0-4663-BE9B-23DDD14C15F9}" srcOrd="1" destOrd="0" presId="urn:microsoft.com/office/officeart/2005/8/layout/orgChart1"/>
    <dgm:cxn modelId="{28531C2C-8C56-4B7F-A879-42019D718F58}" type="presOf" srcId="{C70EB43D-1B1B-4367-B719-506B3F694134}" destId="{B47DD3EF-0511-429A-AAB6-B96A93E2C493}" srcOrd="0" destOrd="0" presId="urn:microsoft.com/office/officeart/2005/8/layout/orgChart1"/>
    <dgm:cxn modelId="{9E24907F-EC45-4E37-ADB5-06F3D60ADA33}" type="presOf" srcId="{057717F8-12C5-4007-8417-B84BB3F070B9}" destId="{D16F240C-471E-43EE-8E42-BBE82B60C6A0}" srcOrd="0" destOrd="0" presId="urn:microsoft.com/office/officeart/2005/8/layout/orgChart1"/>
    <dgm:cxn modelId="{E8261E57-BFC4-4EC8-AD33-DDBAD0881CC6}" type="presOf" srcId="{345B3ED3-BEEA-46E0-A529-291D8E1073EB}" destId="{F3BF091B-4C87-4A07-8670-CF49BC87BD65}" srcOrd="1" destOrd="0" presId="urn:microsoft.com/office/officeart/2005/8/layout/orgChart1"/>
    <dgm:cxn modelId="{11EC3085-C0B9-42FF-8712-3825039AB321}" type="presOf" srcId="{15A980A7-6672-475E-B1EF-77C01271EEB0}" destId="{964A5DAE-4FC7-44E6-B112-C26AF5CE6F7C}" srcOrd="0" destOrd="0" presId="urn:microsoft.com/office/officeart/2005/8/layout/orgChart1"/>
    <dgm:cxn modelId="{40C84360-17A1-4169-9F3F-0B5E2E3B2EAB}" srcId="{252E0E2A-36F8-405E-87DB-4488E997CE55}" destId="{9E70E1CE-7182-4389-8976-DA78E2213D4E}" srcOrd="1" destOrd="0" parTransId="{C0EC8397-F9BB-490F-9C27-AD50D33FCE99}" sibTransId="{E4835188-68D9-446D-9534-088531141B28}"/>
    <dgm:cxn modelId="{A01ED632-4BA8-4268-B35E-60FAC1D600E1}" srcId="{BDB6A80F-218B-4D0D-9001-99797B900FEE}" destId="{44DDB750-2FC8-4D6E-96F9-9A2D862A17F3}" srcOrd="0" destOrd="0" parTransId="{C70EB43D-1B1B-4367-B719-506B3F694134}" sibTransId="{6A3FFB83-2D2E-4E1E-8F03-9DBBDC1EC9AC}"/>
    <dgm:cxn modelId="{7D4DCFF3-CBBB-42A6-973B-F7ACF6E0DECF}" srcId="{8811415E-8300-41BB-923F-CE5A21B71E40}" destId="{26DE4F92-BABC-48BD-956C-845C73CBACE3}" srcOrd="1" destOrd="0" parTransId="{5EA64C42-9C2D-46E2-B557-C8BA0EF753D9}" sibTransId="{1E4E92DB-6D17-4B27-9138-3ACB9038652F}"/>
    <dgm:cxn modelId="{6B895943-B0CA-437C-B0F4-09AF412FE4FB}" type="presOf" srcId="{F08A5581-CFAF-42AC-BF84-CE79AC5E4EBC}" destId="{061961E1-1E99-416F-8BBC-A87CB4089607}" srcOrd="0" destOrd="0" presId="urn:microsoft.com/office/officeart/2005/8/layout/orgChart1"/>
    <dgm:cxn modelId="{9B2F1042-AA45-4494-A198-C9692D9F74BF}" type="presOf" srcId="{252E0E2A-36F8-405E-87DB-4488E997CE55}" destId="{5109B5C1-64F0-411A-8C4A-EE10DDB8954B}" srcOrd="0" destOrd="0" presId="urn:microsoft.com/office/officeart/2005/8/layout/orgChart1"/>
    <dgm:cxn modelId="{CABECC07-CC13-4A47-9DE6-F9557DC8BD0B}" srcId="{8811415E-8300-41BB-923F-CE5A21B71E40}" destId="{D3B6F5D4-014E-499C-837A-7A2D6D00987E}" srcOrd="0" destOrd="0" parTransId="{80EA8E5C-AE75-48BB-92B7-A456C8864070}" sibTransId="{9CEA8826-96DF-4F06-B4B4-C7AC2B8525C3}"/>
    <dgm:cxn modelId="{6B025A6B-CA73-4945-975A-865917CC82B4}" type="presOf" srcId="{C0EC8397-F9BB-490F-9C27-AD50D33FCE99}" destId="{C5AA669D-7B31-4F22-AFF3-15C836AEB8FD}" srcOrd="0" destOrd="0" presId="urn:microsoft.com/office/officeart/2005/8/layout/orgChart1"/>
    <dgm:cxn modelId="{A123E734-F50C-46B7-9EDB-8A990631C329}" type="presOf" srcId="{8811415E-8300-41BB-923F-CE5A21B71E40}" destId="{D648D375-7289-4207-AE79-E9F00AA79165}" srcOrd="0" destOrd="0" presId="urn:microsoft.com/office/officeart/2005/8/layout/orgChart1"/>
    <dgm:cxn modelId="{B2B03C57-8462-4B86-9ABC-D0713D249347}" type="presOf" srcId="{00F8CD30-BF55-44C3-9329-654F87021A88}" destId="{09E2B258-A9FD-4E87-941C-B90B70E0F55B}" srcOrd="1" destOrd="0" presId="urn:microsoft.com/office/officeart/2005/8/layout/orgChart1"/>
    <dgm:cxn modelId="{E5D5B276-365D-4A4C-BC7A-447CCB95AA49}" type="presOf" srcId="{4F0D1846-AFC8-4116-91E1-47308184E5A9}" destId="{CBCBC793-891D-4CA9-AB1C-F041AE9CA8E7}" srcOrd="0" destOrd="0" presId="urn:microsoft.com/office/officeart/2005/8/layout/orgChart1"/>
    <dgm:cxn modelId="{8E3A4CBD-B73C-4514-B68B-E6D81E4973D6}" type="presOf" srcId="{00F8CD30-BF55-44C3-9329-654F87021A88}" destId="{BD5E310E-3C71-4B86-BF20-9E40289285BC}" srcOrd="0" destOrd="0" presId="urn:microsoft.com/office/officeart/2005/8/layout/orgChart1"/>
    <dgm:cxn modelId="{7CEB2501-157D-4A23-92AA-2076ADEF1F73}" type="presOf" srcId="{1C240CC1-1323-41FC-9283-3C5FE725E307}" destId="{D8016897-4014-4464-87C3-9F6DDCB4A992}" srcOrd="1" destOrd="0" presId="urn:microsoft.com/office/officeart/2005/8/layout/orgChart1"/>
    <dgm:cxn modelId="{91B85E60-EB58-423C-A930-ABE6F1E4901E}" type="presOf" srcId="{26DE4F92-BABC-48BD-956C-845C73CBACE3}" destId="{F11EBA0A-7EDC-4E4B-A72F-E01090E4C984}" srcOrd="1" destOrd="0" presId="urn:microsoft.com/office/officeart/2005/8/layout/orgChart1"/>
    <dgm:cxn modelId="{5224156F-DBB3-4747-BB0D-F8674A09475D}" type="presParOf" srcId="{BE7AA8CB-6166-4BD4-92E7-B5B0D0473778}" destId="{0BD4E6DD-9C80-4EA3-BF41-77746DCC185D}" srcOrd="0" destOrd="0" presId="urn:microsoft.com/office/officeart/2005/8/layout/orgChart1"/>
    <dgm:cxn modelId="{9F807150-9D8B-46F6-B4B9-1B5589C3840D}" type="presParOf" srcId="{0BD4E6DD-9C80-4EA3-BF41-77746DCC185D}" destId="{949470DD-77E1-4341-AE74-1240B1BE5B78}" srcOrd="0" destOrd="0" presId="urn:microsoft.com/office/officeart/2005/8/layout/orgChart1"/>
    <dgm:cxn modelId="{990774F9-CB11-453F-8CAA-9C502DC3593D}" type="presParOf" srcId="{949470DD-77E1-4341-AE74-1240B1BE5B78}" destId="{976733B0-5C0F-4626-B169-355447CCF9F9}" srcOrd="0" destOrd="0" presId="urn:microsoft.com/office/officeart/2005/8/layout/orgChart1"/>
    <dgm:cxn modelId="{FBAC3C6E-1AF2-4FA8-9F87-137B99A3072C}" type="presParOf" srcId="{949470DD-77E1-4341-AE74-1240B1BE5B78}" destId="{44EC6DCC-E067-42E0-9658-CDDA9604B077}" srcOrd="1" destOrd="0" presId="urn:microsoft.com/office/officeart/2005/8/layout/orgChart1"/>
    <dgm:cxn modelId="{07D4420E-E327-4F66-9B39-C59FD59694CB}" type="presParOf" srcId="{0BD4E6DD-9C80-4EA3-BF41-77746DCC185D}" destId="{ABD7A0E4-8588-4B23-AABE-791EDBB48D98}" srcOrd="1" destOrd="0" presId="urn:microsoft.com/office/officeart/2005/8/layout/orgChart1"/>
    <dgm:cxn modelId="{7191781D-7D16-4BC8-9A35-9924CEE2B89A}" type="presParOf" srcId="{ABD7A0E4-8588-4B23-AABE-791EDBB48D98}" destId="{D70859DF-75E6-4500-8AAF-578F147C722A}" srcOrd="0" destOrd="0" presId="urn:microsoft.com/office/officeart/2005/8/layout/orgChart1"/>
    <dgm:cxn modelId="{0E3B2090-40E1-49BD-8251-A561A7F73971}" type="presParOf" srcId="{ABD7A0E4-8588-4B23-AABE-791EDBB48D98}" destId="{D57C5C06-991C-40B3-8700-8969B9F50025}" srcOrd="1" destOrd="0" presId="urn:microsoft.com/office/officeart/2005/8/layout/orgChart1"/>
    <dgm:cxn modelId="{C1B53F0A-F0C0-4DE3-B303-E83D2921F067}" type="presParOf" srcId="{D57C5C06-991C-40B3-8700-8969B9F50025}" destId="{D9BA71F8-26A6-454A-9DD0-C46337E105A3}" srcOrd="0" destOrd="0" presId="urn:microsoft.com/office/officeart/2005/8/layout/orgChart1"/>
    <dgm:cxn modelId="{4226A046-51C7-4867-AEEA-326EF2D47FB0}" type="presParOf" srcId="{D9BA71F8-26A6-454A-9DD0-C46337E105A3}" destId="{552B00D1-BFD8-4B1E-8FC4-10C3E5B56EE2}" srcOrd="0" destOrd="0" presId="urn:microsoft.com/office/officeart/2005/8/layout/orgChart1"/>
    <dgm:cxn modelId="{78362687-4531-435C-A531-FA1D03FE86C2}" type="presParOf" srcId="{D9BA71F8-26A6-454A-9DD0-C46337E105A3}" destId="{FC933AEE-2A38-4B39-A33A-F5015DD5893C}" srcOrd="1" destOrd="0" presId="urn:microsoft.com/office/officeart/2005/8/layout/orgChart1"/>
    <dgm:cxn modelId="{441E4B2B-7617-4FC1-AAC1-3C994D8225FA}" type="presParOf" srcId="{D57C5C06-991C-40B3-8700-8969B9F50025}" destId="{6E915E17-9ACF-40FC-B27F-8C094395807A}" srcOrd="1" destOrd="0" presId="urn:microsoft.com/office/officeart/2005/8/layout/orgChart1"/>
    <dgm:cxn modelId="{846F4CD4-A601-4BA2-9426-DA585EFCF3B6}" type="presParOf" srcId="{6E915E17-9ACF-40FC-B27F-8C094395807A}" destId="{B47DD3EF-0511-429A-AAB6-B96A93E2C493}" srcOrd="0" destOrd="0" presId="urn:microsoft.com/office/officeart/2005/8/layout/orgChart1"/>
    <dgm:cxn modelId="{A6E22FEF-AE1B-4C4D-83E7-9F4B117377B7}" type="presParOf" srcId="{6E915E17-9ACF-40FC-B27F-8C094395807A}" destId="{D8607A84-6E06-4597-A531-A1E60BB981DA}" srcOrd="1" destOrd="0" presId="urn:microsoft.com/office/officeart/2005/8/layout/orgChart1"/>
    <dgm:cxn modelId="{D9F95672-0085-46EB-8491-91509839FE85}" type="presParOf" srcId="{D8607A84-6E06-4597-A531-A1E60BB981DA}" destId="{30AEE0B0-30EB-4C3D-B628-2E508A4A1C8E}" srcOrd="0" destOrd="0" presId="urn:microsoft.com/office/officeart/2005/8/layout/orgChart1"/>
    <dgm:cxn modelId="{BE15510B-67FA-4A20-A9ED-FCFF46236600}" type="presParOf" srcId="{30AEE0B0-30EB-4C3D-B628-2E508A4A1C8E}" destId="{040AAB5D-B2B8-44D8-800F-2600232A76F5}" srcOrd="0" destOrd="0" presId="urn:microsoft.com/office/officeart/2005/8/layout/orgChart1"/>
    <dgm:cxn modelId="{34690B61-9DDE-4B9E-8869-FA0A691B7313}" type="presParOf" srcId="{30AEE0B0-30EB-4C3D-B628-2E508A4A1C8E}" destId="{C435CC97-8E53-4057-9F66-6B73ACDC5C06}" srcOrd="1" destOrd="0" presId="urn:microsoft.com/office/officeart/2005/8/layout/orgChart1"/>
    <dgm:cxn modelId="{58EB2D2C-5A55-4D08-B712-6C3358C0F5A8}" type="presParOf" srcId="{D8607A84-6E06-4597-A531-A1E60BB981DA}" destId="{11B1277E-DD95-472F-B481-D3D7A6106AFB}" srcOrd="1" destOrd="0" presId="urn:microsoft.com/office/officeart/2005/8/layout/orgChart1"/>
    <dgm:cxn modelId="{37FBC945-BBFA-444C-B871-C2748AF56635}" type="presParOf" srcId="{D8607A84-6E06-4597-A531-A1E60BB981DA}" destId="{B25A3227-7122-4B29-A004-25FE34C6C265}" srcOrd="2" destOrd="0" presId="urn:microsoft.com/office/officeart/2005/8/layout/orgChart1"/>
    <dgm:cxn modelId="{F689B28D-1378-4A8C-B975-12050D1C7170}" type="presParOf" srcId="{6E915E17-9ACF-40FC-B27F-8C094395807A}" destId="{E82575A0-4EF5-40BB-A45F-1BBDCD74EFA6}" srcOrd="2" destOrd="0" presId="urn:microsoft.com/office/officeart/2005/8/layout/orgChart1"/>
    <dgm:cxn modelId="{6FE0B664-35F7-461D-9695-6067C9285E3D}" type="presParOf" srcId="{6E915E17-9ACF-40FC-B27F-8C094395807A}" destId="{66DFFD45-F730-42B6-BA70-6F052F70319B}" srcOrd="3" destOrd="0" presId="urn:microsoft.com/office/officeart/2005/8/layout/orgChart1"/>
    <dgm:cxn modelId="{EA8CB249-2FE3-4B18-AAC8-0A54E2A7D6F8}" type="presParOf" srcId="{66DFFD45-F730-42B6-BA70-6F052F70319B}" destId="{62D17318-B20D-4ECF-9F07-0B662E752F10}" srcOrd="0" destOrd="0" presId="urn:microsoft.com/office/officeart/2005/8/layout/orgChart1"/>
    <dgm:cxn modelId="{793AEED7-68B1-449C-8D5D-6130ADAD8950}" type="presParOf" srcId="{62D17318-B20D-4ECF-9F07-0B662E752F10}" destId="{381EC39F-1D0F-4FDC-B4A2-BA956C94EB09}" srcOrd="0" destOrd="0" presId="urn:microsoft.com/office/officeart/2005/8/layout/orgChart1"/>
    <dgm:cxn modelId="{B6EA562A-12D2-4248-B889-6C387C9EDF73}" type="presParOf" srcId="{62D17318-B20D-4ECF-9F07-0B662E752F10}" destId="{D8016897-4014-4464-87C3-9F6DDCB4A992}" srcOrd="1" destOrd="0" presId="urn:microsoft.com/office/officeart/2005/8/layout/orgChart1"/>
    <dgm:cxn modelId="{240B9376-A158-41E4-99C2-14720CB0BED0}" type="presParOf" srcId="{66DFFD45-F730-42B6-BA70-6F052F70319B}" destId="{F83A0A2E-F2F0-4A2C-BF30-1918B4785465}" srcOrd="1" destOrd="0" presId="urn:microsoft.com/office/officeart/2005/8/layout/orgChart1"/>
    <dgm:cxn modelId="{E7ABD485-A6FF-426E-B7FC-0839D1D9DBFE}" type="presParOf" srcId="{66DFFD45-F730-42B6-BA70-6F052F70319B}" destId="{AAA616B9-1D5E-4C75-A5DD-0F6BC936910E}" srcOrd="2" destOrd="0" presId="urn:microsoft.com/office/officeart/2005/8/layout/orgChart1"/>
    <dgm:cxn modelId="{42C6BFEC-5570-4C51-AEF1-278759258132}" type="presParOf" srcId="{6E915E17-9ACF-40FC-B27F-8C094395807A}" destId="{77366E24-F50E-4360-A95C-716F645266C8}" srcOrd="4" destOrd="0" presId="urn:microsoft.com/office/officeart/2005/8/layout/orgChart1"/>
    <dgm:cxn modelId="{C143EC24-F134-48A5-965A-61E1E97D96BB}" type="presParOf" srcId="{6E915E17-9ACF-40FC-B27F-8C094395807A}" destId="{C964F426-5E64-4A0E-8598-D7601DC0E2DA}" srcOrd="5" destOrd="0" presId="urn:microsoft.com/office/officeart/2005/8/layout/orgChart1"/>
    <dgm:cxn modelId="{82E82B7F-E6CE-4785-B500-F4F9BC82CEAD}" type="presParOf" srcId="{C964F426-5E64-4A0E-8598-D7601DC0E2DA}" destId="{05F2EF1C-4E5A-4FA6-82E5-497A681B3283}" srcOrd="0" destOrd="0" presId="urn:microsoft.com/office/officeart/2005/8/layout/orgChart1"/>
    <dgm:cxn modelId="{5C28EB89-5E5D-4D84-9FB0-6270DB153BA0}" type="presParOf" srcId="{05F2EF1C-4E5A-4FA6-82E5-497A681B3283}" destId="{BD5E310E-3C71-4B86-BF20-9E40289285BC}" srcOrd="0" destOrd="0" presId="urn:microsoft.com/office/officeart/2005/8/layout/orgChart1"/>
    <dgm:cxn modelId="{38B127A5-FDF0-4E2D-9134-96DFE1CE1235}" type="presParOf" srcId="{05F2EF1C-4E5A-4FA6-82E5-497A681B3283}" destId="{09E2B258-A9FD-4E87-941C-B90B70E0F55B}" srcOrd="1" destOrd="0" presId="urn:microsoft.com/office/officeart/2005/8/layout/orgChart1"/>
    <dgm:cxn modelId="{FB9A677D-6DD1-4A70-BCFA-13CD16D26763}" type="presParOf" srcId="{C964F426-5E64-4A0E-8598-D7601DC0E2DA}" destId="{B75B5024-4E97-4317-9642-C35604EF37BE}" srcOrd="1" destOrd="0" presId="urn:microsoft.com/office/officeart/2005/8/layout/orgChart1"/>
    <dgm:cxn modelId="{DF472390-0C37-4104-8C82-E1AFEF069E3C}" type="presParOf" srcId="{C964F426-5E64-4A0E-8598-D7601DC0E2DA}" destId="{9B0EC988-0FDD-4D6E-B32F-BB318617C962}" srcOrd="2" destOrd="0" presId="urn:microsoft.com/office/officeart/2005/8/layout/orgChart1"/>
    <dgm:cxn modelId="{6F980652-53D9-40E4-AABE-00985FA614A2}" type="presParOf" srcId="{D57C5C06-991C-40B3-8700-8969B9F50025}" destId="{295EB5E0-4359-408B-9D58-5094CC47A901}" srcOrd="2" destOrd="0" presId="urn:microsoft.com/office/officeart/2005/8/layout/orgChart1"/>
    <dgm:cxn modelId="{791D21BF-252A-405E-AFA9-FD365E17CEF2}" type="presParOf" srcId="{ABD7A0E4-8588-4B23-AABE-791EDBB48D98}" destId="{7ADBF0B4-360F-4BDF-ABD2-685F984F8B9C}" srcOrd="2" destOrd="0" presId="urn:microsoft.com/office/officeart/2005/8/layout/orgChart1"/>
    <dgm:cxn modelId="{853AE1B1-0720-4B65-8E04-B66A9A0364E7}" type="presParOf" srcId="{ABD7A0E4-8588-4B23-AABE-791EDBB48D98}" destId="{1ADBAC86-F822-4A84-87B2-D70D2D8BAF48}" srcOrd="3" destOrd="0" presId="urn:microsoft.com/office/officeart/2005/8/layout/orgChart1"/>
    <dgm:cxn modelId="{AC9AA1F0-F946-4700-965A-DC166C0BC562}" type="presParOf" srcId="{1ADBAC86-F822-4A84-87B2-D70D2D8BAF48}" destId="{27CA66DD-AB40-4490-9B99-E6D7FEC37116}" srcOrd="0" destOrd="0" presId="urn:microsoft.com/office/officeart/2005/8/layout/orgChart1"/>
    <dgm:cxn modelId="{D0DEB18A-66BC-4E1B-AEFD-E415B78B5936}" type="presParOf" srcId="{27CA66DD-AB40-4490-9B99-E6D7FEC37116}" destId="{5109B5C1-64F0-411A-8C4A-EE10DDB8954B}" srcOrd="0" destOrd="0" presId="urn:microsoft.com/office/officeart/2005/8/layout/orgChart1"/>
    <dgm:cxn modelId="{94593FEB-83D7-4C8E-930E-9225520C8046}" type="presParOf" srcId="{27CA66DD-AB40-4490-9B99-E6D7FEC37116}" destId="{FC6C9DB4-6C74-4E03-99A9-FA428757472B}" srcOrd="1" destOrd="0" presId="urn:microsoft.com/office/officeart/2005/8/layout/orgChart1"/>
    <dgm:cxn modelId="{7958AE5F-D6A7-4E84-BC13-5D92BFF09322}" type="presParOf" srcId="{1ADBAC86-F822-4A84-87B2-D70D2D8BAF48}" destId="{DECC031B-627B-4D35-88E3-EC78138BEF96}" srcOrd="1" destOrd="0" presId="urn:microsoft.com/office/officeart/2005/8/layout/orgChart1"/>
    <dgm:cxn modelId="{ED8E010D-2C8E-43D3-8386-243850D56F14}" type="presParOf" srcId="{DECC031B-627B-4D35-88E3-EC78138BEF96}" destId="{954D732B-A74E-4F20-BC66-A3D2007434B0}" srcOrd="0" destOrd="0" presId="urn:microsoft.com/office/officeart/2005/8/layout/orgChart1"/>
    <dgm:cxn modelId="{7E96748E-9874-4004-B5EA-6E062A7011C3}" type="presParOf" srcId="{DECC031B-627B-4D35-88E3-EC78138BEF96}" destId="{2E81D6F7-CF94-488D-BD5E-0400739BFDBB}" srcOrd="1" destOrd="0" presId="urn:microsoft.com/office/officeart/2005/8/layout/orgChart1"/>
    <dgm:cxn modelId="{F2E74760-9E3C-4745-883C-26DC34573F82}" type="presParOf" srcId="{2E81D6F7-CF94-488D-BD5E-0400739BFDBB}" destId="{7E8A97AE-56BD-4BC0-9ECB-95E42A22F65B}" srcOrd="0" destOrd="0" presId="urn:microsoft.com/office/officeart/2005/8/layout/orgChart1"/>
    <dgm:cxn modelId="{CC2FDE62-0A8E-4167-B1BA-3CBA6019104E}" type="presParOf" srcId="{7E8A97AE-56BD-4BC0-9ECB-95E42A22F65B}" destId="{061961E1-1E99-416F-8BBC-A87CB4089607}" srcOrd="0" destOrd="0" presId="urn:microsoft.com/office/officeart/2005/8/layout/orgChart1"/>
    <dgm:cxn modelId="{7B9F035D-E520-492A-86A6-AD4D7CFD966B}" type="presParOf" srcId="{7E8A97AE-56BD-4BC0-9ECB-95E42A22F65B}" destId="{99B3A98C-8FC0-4663-BE9B-23DDD14C15F9}" srcOrd="1" destOrd="0" presId="urn:microsoft.com/office/officeart/2005/8/layout/orgChart1"/>
    <dgm:cxn modelId="{E792604B-234C-41FA-9494-EA8594767998}" type="presParOf" srcId="{2E81D6F7-CF94-488D-BD5E-0400739BFDBB}" destId="{1983A97C-918D-4235-9B3B-AB12F5E04003}" srcOrd="1" destOrd="0" presId="urn:microsoft.com/office/officeart/2005/8/layout/orgChart1"/>
    <dgm:cxn modelId="{8FF28493-B3A5-43BE-84BC-67E93246126D}" type="presParOf" srcId="{2E81D6F7-CF94-488D-BD5E-0400739BFDBB}" destId="{C2F1E707-5464-4025-B523-3E54595284CB}" srcOrd="2" destOrd="0" presId="urn:microsoft.com/office/officeart/2005/8/layout/orgChart1"/>
    <dgm:cxn modelId="{38E31C16-318D-4BF3-B497-7519D43927A5}" type="presParOf" srcId="{DECC031B-627B-4D35-88E3-EC78138BEF96}" destId="{C5AA669D-7B31-4F22-AFF3-15C836AEB8FD}" srcOrd="2" destOrd="0" presId="urn:microsoft.com/office/officeart/2005/8/layout/orgChart1"/>
    <dgm:cxn modelId="{133ABAE9-5450-4443-8DCE-50606BA9EDFB}" type="presParOf" srcId="{DECC031B-627B-4D35-88E3-EC78138BEF96}" destId="{BFA602C9-30CD-499F-92F0-176DD21E9349}" srcOrd="3" destOrd="0" presId="urn:microsoft.com/office/officeart/2005/8/layout/orgChart1"/>
    <dgm:cxn modelId="{FB2EFB45-5874-43F5-92D9-4E8C93C9A4A2}" type="presParOf" srcId="{BFA602C9-30CD-499F-92F0-176DD21E9349}" destId="{8946A19F-D972-4D18-9FF6-FF2231DCB558}" srcOrd="0" destOrd="0" presId="urn:microsoft.com/office/officeart/2005/8/layout/orgChart1"/>
    <dgm:cxn modelId="{B710960D-F70E-451E-942A-E8D5474A195B}" type="presParOf" srcId="{8946A19F-D972-4D18-9FF6-FF2231DCB558}" destId="{C19C5CB4-08ED-48AE-98B1-06B25F2749BC}" srcOrd="0" destOrd="0" presId="urn:microsoft.com/office/officeart/2005/8/layout/orgChart1"/>
    <dgm:cxn modelId="{EBD90A2C-95C4-44E9-B325-7C965CAFE0AB}" type="presParOf" srcId="{8946A19F-D972-4D18-9FF6-FF2231DCB558}" destId="{2B0380E4-9AE5-4AEB-AFC2-0469C63E6EB9}" srcOrd="1" destOrd="0" presId="urn:microsoft.com/office/officeart/2005/8/layout/orgChart1"/>
    <dgm:cxn modelId="{B11367F9-9A91-4BB5-B1E0-1D9D3984756E}" type="presParOf" srcId="{BFA602C9-30CD-499F-92F0-176DD21E9349}" destId="{16B6967C-385B-4D8B-8C71-31FDCC551637}" srcOrd="1" destOrd="0" presId="urn:microsoft.com/office/officeart/2005/8/layout/orgChart1"/>
    <dgm:cxn modelId="{28AA8991-ADC4-4E8C-918C-4D7515763D80}" type="presParOf" srcId="{BFA602C9-30CD-499F-92F0-176DD21E9349}" destId="{E1E56F5F-A642-4A7E-9F9F-3B52ED6DBA1C}" srcOrd="2" destOrd="0" presId="urn:microsoft.com/office/officeart/2005/8/layout/orgChart1"/>
    <dgm:cxn modelId="{DA6850F6-A25A-4FFC-81CA-6528E82CB065}" type="presParOf" srcId="{DECC031B-627B-4D35-88E3-EC78138BEF96}" destId="{D16F240C-471E-43EE-8E42-BBE82B60C6A0}" srcOrd="4" destOrd="0" presId="urn:microsoft.com/office/officeart/2005/8/layout/orgChart1"/>
    <dgm:cxn modelId="{AF8F3EF8-5420-4EE6-B33C-51BE85EE374D}" type="presParOf" srcId="{DECC031B-627B-4D35-88E3-EC78138BEF96}" destId="{35E65645-F7C8-4231-A836-508459BEFBF4}" srcOrd="5" destOrd="0" presId="urn:microsoft.com/office/officeart/2005/8/layout/orgChart1"/>
    <dgm:cxn modelId="{B8557C64-3F5C-4636-B134-7907D3B006F2}" type="presParOf" srcId="{35E65645-F7C8-4231-A836-508459BEFBF4}" destId="{2BBFFC64-58B1-40D2-9264-704C522D57B9}" srcOrd="0" destOrd="0" presId="urn:microsoft.com/office/officeart/2005/8/layout/orgChart1"/>
    <dgm:cxn modelId="{148B68CE-1E4B-4C69-B78D-718104268931}" type="presParOf" srcId="{2BBFFC64-58B1-40D2-9264-704C522D57B9}" destId="{4BC314D7-40E8-4675-97CC-5D250CD57794}" srcOrd="0" destOrd="0" presId="urn:microsoft.com/office/officeart/2005/8/layout/orgChart1"/>
    <dgm:cxn modelId="{06D99040-14C7-45BF-B687-A99382CC3201}" type="presParOf" srcId="{2BBFFC64-58B1-40D2-9264-704C522D57B9}" destId="{2D3BDBBF-5254-4179-9BAA-2E1E9D1F8007}" srcOrd="1" destOrd="0" presId="urn:microsoft.com/office/officeart/2005/8/layout/orgChart1"/>
    <dgm:cxn modelId="{D4EB13D5-115C-403D-9C3B-86492EDF3240}" type="presParOf" srcId="{35E65645-F7C8-4231-A836-508459BEFBF4}" destId="{3BE41553-E7E2-4FB8-B3E8-F24CFB9484D3}" srcOrd="1" destOrd="0" presId="urn:microsoft.com/office/officeart/2005/8/layout/orgChart1"/>
    <dgm:cxn modelId="{4A7C1C15-4284-4B66-8B67-6B37CBA294A4}" type="presParOf" srcId="{35E65645-F7C8-4231-A836-508459BEFBF4}" destId="{9F944E97-58E8-4EC3-AB1F-6BB11B5BC779}" srcOrd="2" destOrd="0" presId="urn:microsoft.com/office/officeart/2005/8/layout/orgChart1"/>
    <dgm:cxn modelId="{9774A780-01C2-4576-8C90-489EFD931F95}" type="presParOf" srcId="{1ADBAC86-F822-4A84-87B2-D70D2D8BAF48}" destId="{111FC96F-6C52-4515-98FE-7833A966BBF7}" srcOrd="2" destOrd="0" presId="urn:microsoft.com/office/officeart/2005/8/layout/orgChart1"/>
    <dgm:cxn modelId="{8EE1EA2A-E906-492E-BCD3-39CA0366ED23}" type="presParOf" srcId="{ABD7A0E4-8588-4B23-AABE-791EDBB48D98}" destId="{C41EEE41-6E25-4212-851E-0F79C9C0843C}" srcOrd="4" destOrd="0" presId="urn:microsoft.com/office/officeart/2005/8/layout/orgChart1"/>
    <dgm:cxn modelId="{15712932-342D-4593-83B3-21C2B47609E5}" type="presParOf" srcId="{ABD7A0E4-8588-4B23-AABE-791EDBB48D98}" destId="{30ABAF12-ECFB-4536-9654-9D17915E7262}" srcOrd="5" destOrd="0" presId="urn:microsoft.com/office/officeart/2005/8/layout/orgChart1"/>
    <dgm:cxn modelId="{0FA2B38D-7112-45A5-8103-E35A7D5B1182}" type="presParOf" srcId="{30ABAF12-ECFB-4536-9654-9D17915E7262}" destId="{1B4BF8A8-6EDE-445B-8F2E-459166969CB4}" srcOrd="0" destOrd="0" presId="urn:microsoft.com/office/officeart/2005/8/layout/orgChart1"/>
    <dgm:cxn modelId="{E31887F3-458B-4A61-80BB-D2D39F36414D}" type="presParOf" srcId="{1B4BF8A8-6EDE-445B-8F2E-459166969CB4}" destId="{D648D375-7289-4207-AE79-E9F00AA79165}" srcOrd="0" destOrd="0" presId="urn:microsoft.com/office/officeart/2005/8/layout/orgChart1"/>
    <dgm:cxn modelId="{3E2D05A3-46BE-4AD8-8E1C-EF7C8B885825}" type="presParOf" srcId="{1B4BF8A8-6EDE-445B-8F2E-459166969CB4}" destId="{D195345E-1860-4465-A048-212DABF87BD5}" srcOrd="1" destOrd="0" presId="urn:microsoft.com/office/officeart/2005/8/layout/orgChart1"/>
    <dgm:cxn modelId="{FA77F972-06A3-46CF-99F3-1C26ACA6AD81}" type="presParOf" srcId="{30ABAF12-ECFB-4536-9654-9D17915E7262}" destId="{A82DCE93-CCB7-4D55-8D32-2AC3AE1DBC0C}" srcOrd="1" destOrd="0" presId="urn:microsoft.com/office/officeart/2005/8/layout/orgChart1"/>
    <dgm:cxn modelId="{39D40925-CB92-496D-B4E6-FFBD185B69F6}" type="presParOf" srcId="{A82DCE93-CCB7-4D55-8D32-2AC3AE1DBC0C}" destId="{94F4DA66-7C2B-4199-A686-8492C8A49F52}" srcOrd="0" destOrd="0" presId="urn:microsoft.com/office/officeart/2005/8/layout/orgChart1"/>
    <dgm:cxn modelId="{EA9ECD8E-C92E-42FC-8424-FAB5A2010ADB}" type="presParOf" srcId="{A82DCE93-CCB7-4D55-8D32-2AC3AE1DBC0C}" destId="{C2FF522F-F58A-495C-BF9D-7A9F0B4CCF8F}" srcOrd="1" destOrd="0" presId="urn:microsoft.com/office/officeart/2005/8/layout/orgChart1"/>
    <dgm:cxn modelId="{DE9ECB4B-88A1-43FC-AC75-3E800DB29F83}" type="presParOf" srcId="{C2FF522F-F58A-495C-BF9D-7A9F0B4CCF8F}" destId="{D438BBAA-6891-45C1-BD21-AB185B66570E}" srcOrd="0" destOrd="0" presId="urn:microsoft.com/office/officeart/2005/8/layout/orgChart1"/>
    <dgm:cxn modelId="{58D15DA4-4415-409B-849D-B835DA29EA22}" type="presParOf" srcId="{D438BBAA-6891-45C1-BD21-AB185B66570E}" destId="{1660D98B-1174-4F83-986F-AE8B89029297}" srcOrd="0" destOrd="0" presId="urn:microsoft.com/office/officeart/2005/8/layout/orgChart1"/>
    <dgm:cxn modelId="{447F7DB4-9A3A-499C-AE31-A533ABA6220C}" type="presParOf" srcId="{D438BBAA-6891-45C1-BD21-AB185B66570E}" destId="{92C33095-FAAB-4805-9D54-90445749FEB9}" srcOrd="1" destOrd="0" presId="urn:microsoft.com/office/officeart/2005/8/layout/orgChart1"/>
    <dgm:cxn modelId="{FE159C9A-5FFF-4360-BC69-1D8231F92039}" type="presParOf" srcId="{C2FF522F-F58A-495C-BF9D-7A9F0B4CCF8F}" destId="{E39BB110-6C86-43D6-A5F6-D3833A65809A}" srcOrd="1" destOrd="0" presId="urn:microsoft.com/office/officeart/2005/8/layout/orgChart1"/>
    <dgm:cxn modelId="{74265BD6-2CFA-423A-8DCD-FBB063BF09DA}" type="presParOf" srcId="{C2FF522F-F58A-495C-BF9D-7A9F0B4CCF8F}" destId="{E6D9E050-2561-402A-94F1-0C3C3937E258}" srcOrd="2" destOrd="0" presId="urn:microsoft.com/office/officeart/2005/8/layout/orgChart1"/>
    <dgm:cxn modelId="{0F8923F3-B038-4426-82E0-0F44284AC8D6}" type="presParOf" srcId="{A82DCE93-CCB7-4D55-8D32-2AC3AE1DBC0C}" destId="{25D89B75-B02A-4833-8493-F3BF4C93BD5D}" srcOrd="2" destOrd="0" presId="urn:microsoft.com/office/officeart/2005/8/layout/orgChart1"/>
    <dgm:cxn modelId="{668F75BF-C3B4-460B-B12F-42E824C4B961}" type="presParOf" srcId="{A82DCE93-CCB7-4D55-8D32-2AC3AE1DBC0C}" destId="{A0E12ED1-B4BE-47B8-B92D-598090DCDD8A}" srcOrd="3" destOrd="0" presId="urn:microsoft.com/office/officeart/2005/8/layout/orgChart1"/>
    <dgm:cxn modelId="{BF874752-AA66-4726-A20A-475C02FF6145}" type="presParOf" srcId="{A0E12ED1-B4BE-47B8-B92D-598090DCDD8A}" destId="{5995034E-6B46-4C4D-867D-2E62251475C2}" srcOrd="0" destOrd="0" presId="urn:microsoft.com/office/officeart/2005/8/layout/orgChart1"/>
    <dgm:cxn modelId="{FBE90BD6-67BA-4328-9A88-E2985027C45A}" type="presParOf" srcId="{5995034E-6B46-4C4D-867D-2E62251475C2}" destId="{838267CF-C4CF-44F1-8110-D602B61B202A}" srcOrd="0" destOrd="0" presId="urn:microsoft.com/office/officeart/2005/8/layout/orgChart1"/>
    <dgm:cxn modelId="{5670B694-BA40-4BCE-81DD-05FE824896A3}" type="presParOf" srcId="{5995034E-6B46-4C4D-867D-2E62251475C2}" destId="{F11EBA0A-7EDC-4E4B-A72F-E01090E4C984}" srcOrd="1" destOrd="0" presId="urn:microsoft.com/office/officeart/2005/8/layout/orgChart1"/>
    <dgm:cxn modelId="{2341DF76-E625-45A7-A4A7-6F15CF9D39A8}" type="presParOf" srcId="{A0E12ED1-B4BE-47B8-B92D-598090DCDD8A}" destId="{D96FCE0C-B270-47E3-8AA6-944B451AE654}" srcOrd="1" destOrd="0" presId="urn:microsoft.com/office/officeart/2005/8/layout/orgChart1"/>
    <dgm:cxn modelId="{EEA3238A-26BD-4EE3-A565-87D13FF7A8AB}" type="presParOf" srcId="{A0E12ED1-B4BE-47B8-B92D-598090DCDD8A}" destId="{58F33591-B5EA-4252-94AE-D8AB162B5BFF}" srcOrd="2" destOrd="0" presId="urn:microsoft.com/office/officeart/2005/8/layout/orgChart1"/>
    <dgm:cxn modelId="{75DDC681-4725-4FC7-BD18-4ED6FF944D44}" type="presParOf" srcId="{A82DCE93-CCB7-4D55-8D32-2AC3AE1DBC0C}" destId="{964A5DAE-4FC7-44E6-B112-C26AF5CE6F7C}" srcOrd="4" destOrd="0" presId="urn:microsoft.com/office/officeart/2005/8/layout/orgChart1"/>
    <dgm:cxn modelId="{7841EDC6-CDD9-4541-9BDC-1BBD4090A2E3}" type="presParOf" srcId="{A82DCE93-CCB7-4D55-8D32-2AC3AE1DBC0C}" destId="{84426E4F-5771-49AF-9DD0-03D3D7D6C347}" srcOrd="5" destOrd="0" presId="urn:microsoft.com/office/officeart/2005/8/layout/orgChart1"/>
    <dgm:cxn modelId="{A268E7BB-CA4F-42EF-B437-A1FB0171BF15}" type="presParOf" srcId="{84426E4F-5771-49AF-9DD0-03D3D7D6C347}" destId="{9AEEFA97-1AED-4EA1-AE2E-0CEE158700B2}" srcOrd="0" destOrd="0" presId="urn:microsoft.com/office/officeart/2005/8/layout/orgChart1"/>
    <dgm:cxn modelId="{F329239A-8C30-4175-B920-805EA95EFDE1}" type="presParOf" srcId="{9AEEFA97-1AED-4EA1-AE2E-0CEE158700B2}" destId="{CBCBC793-891D-4CA9-AB1C-F041AE9CA8E7}" srcOrd="0" destOrd="0" presId="urn:microsoft.com/office/officeart/2005/8/layout/orgChart1"/>
    <dgm:cxn modelId="{2A5D3972-AF63-4509-AB25-90B50B34190B}" type="presParOf" srcId="{9AEEFA97-1AED-4EA1-AE2E-0CEE158700B2}" destId="{130B8193-9E1D-46CB-BE47-13E5E0AD640F}" srcOrd="1" destOrd="0" presId="urn:microsoft.com/office/officeart/2005/8/layout/orgChart1"/>
    <dgm:cxn modelId="{C7BE82DF-714C-4B6E-B7C5-C8E6D49DC8B3}" type="presParOf" srcId="{84426E4F-5771-49AF-9DD0-03D3D7D6C347}" destId="{D78F74A1-05EF-4CC6-911E-286C07880075}" srcOrd="1" destOrd="0" presId="urn:microsoft.com/office/officeart/2005/8/layout/orgChart1"/>
    <dgm:cxn modelId="{9A74DF6A-B048-4AE5-B4B3-4F935B9816DA}" type="presParOf" srcId="{84426E4F-5771-49AF-9DD0-03D3D7D6C347}" destId="{F5E210FD-C6D7-41DD-BA51-E18BD9EFB7E8}" srcOrd="2" destOrd="0" presId="urn:microsoft.com/office/officeart/2005/8/layout/orgChart1"/>
    <dgm:cxn modelId="{E5B870D9-EE13-4B22-B524-6C0173DD9193}" type="presParOf" srcId="{30ABAF12-ECFB-4536-9654-9D17915E7262}" destId="{7C70B9D1-C986-4758-8599-E00AEF3D4A73}" srcOrd="2" destOrd="0" presId="urn:microsoft.com/office/officeart/2005/8/layout/orgChart1"/>
    <dgm:cxn modelId="{C3F8F434-E87E-41C8-A194-917BC9184A56}" type="presParOf" srcId="{0BD4E6DD-9C80-4EA3-BF41-77746DCC185D}" destId="{0ADBA20E-1DE8-40C5-841A-53291B059F23}" srcOrd="2" destOrd="0" presId="urn:microsoft.com/office/officeart/2005/8/layout/orgChart1"/>
    <dgm:cxn modelId="{0271D138-00E3-4AB2-9FD4-89E7E9C5A02E}" type="presParOf" srcId="{0ADBA20E-1DE8-40C5-841A-53291B059F23}" destId="{6D2CD0C0-C8DF-40DB-B0D9-0FA1BF1FD55A}" srcOrd="0" destOrd="0" presId="urn:microsoft.com/office/officeart/2005/8/layout/orgChart1"/>
    <dgm:cxn modelId="{40C29FAC-1F6A-43E8-A64F-DBBFF50B14E4}" type="presParOf" srcId="{0ADBA20E-1DE8-40C5-841A-53291B059F23}" destId="{0CC94125-C05D-4FE4-A198-0A3948DA430D}" srcOrd="1" destOrd="0" presId="urn:microsoft.com/office/officeart/2005/8/layout/orgChart1"/>
    <dgm:cxn modelId="{72EA4500-DA68-4C32-9FA0-01151BAFACF8}" type="presParOf" srcId="{0CC94125-C05D-4FE4-A198-0A3948DA430D}" destId="{2D321ACF-694B-4932-9812-CFF32918E4A7}" srcOrd="0" destOrd="0" presId="urn:microsoft.com/office/officeart/2005/8/layout/orgChart1"/>
    <dgm:cxn modelId="{6A96C0C8-5B88-4B17-BA25-630BB3C209C5}" type="presParOf" srcId="{2D321ACF-694B-4932-9812-CFF32918E4A7}" destId="{DBBFDB82-DBB8-4EF1-8802-AB3FC8C03278}" srcOrd="0" destOrd="0" presId="urn:microsoft.com/office/officeart/2005/8/layout/orgChart1"/>
    <dgm:cxn modelId="{4F7A1FB3-402F-4A59-B8FC-127CDB9A7509}" type="presParOf" srcId="{2D321ACF-694B-4932-9812-CFF32918E4A7}" destId="{9C14B5EE-B266-4093-B4CF-8D3B0AB1A1B5}" srcOrd="1" destOrd="0" presId="urn:microsoft.com/office/officeart/2005/8/layout/orgChart1"/>
    <dgm:cxn modelId="{E798E7F5-CACC-4647-95FF-56266581586C}" type="presParOf" srcId="{0CC94125-C05D-4FE4-A198-0A3948DA430D}" destId="{3B693F13-DC4F-4E07-B8D6-00B3D98EFDC4}" srcOrd="1" destOrd="0" presId="urn:microsoft.com/office/officeart/2005/8/layout/orgChart1"/>
    <dgm:cxn modelId="{68383424-EE23-42E5-8D76-04909EDF55B3}" type="presParOf" srcId="{0CC94125-C05D-4FE4-A198-0A3948DA430D}" destId="{3528FFDE-10FE-4561-B57F-F0122E49A71A}" srcOrd="2" destOrd="0" presId="urn:microsoft.com/office/officeart/2005/8/layout/orgChart1"/>
    <dgm:cxn modelId="{87B7AC25-016A-4109-8CA1-73EA654DCC9B}" type="presParOf" srcId="{0ADBA20E-1DE8-40C5-841A-53291B059F23}" destId="{C812E287-2CC8-44D3-BB0C-3208BD251FBD}" srcOrd="2" destOrd="0" presId="urn:microsoft.com/office/officeart/2005/8/layout/orgChart1"/>
    <dgm:cxn modelId="{D2CAFAE2-9DA7-4065-A5A7-82A270F5B17E}" type="presParOf" srcId="{0ADBA20E-1DE8-40C5-841A-53291B059F23}" destId="{24E88E14-440A-4EA0-A234-0ADA18B29B4F}" srcOrd="3" destOrd="0" presId="urn:microsoft.com/office/officeart/2005/8/layout/orgChart1"/>
    <dgm:cxn modelId="{607E2729-C760-4E5B-9A11-F3A662DAF5AF}" type="presParOf" srcId="{24E88E14-440A-4EA0-A234-0ADA18B29B4F}" destId="{1A49A4A8-9B30-4EF6-88C8-1370F92B107F}" srcOrd="0" destOrd="0" presId="urn:microsoft.com/office/officeart/2005/8/layout/orgChart1"/>
    <dgm:cxn modelId="{89D3A5A4-CAF6-48EF-A92F-A8711AFC5094}" type="presParOf" srcId="{1A49A4A8-9B30-4EF6-88C8-1370F92B107F}" destId="{46D88072-1300-4952-B250-852A8A0EA5FF}" srcOrd="0" destOrd="0" presId="urn:microsoft.com/office/officeart/2005/8/layout/orgChart1"/>
    <dgm:cxn modelId="{43759AD0-81A3-481C-B2F7-B8D80A2F49F1}" type="presParOf" srcId="{1A49A4A8-9B30-4EF6-88C8-1370F92B107F}" destId="{F3BF091B-4C87-4A07-8670-CF49BC87BD65}" srcOrd="1" destOrd="0" presId="urn:microsoft.com/office/officeart/2005/8/layout/orgChart1"/>
    <dgm:cxn modelId="{CA50FFE0-290C-4B21-8B18-540D6039BAFC}" type="presParOf" srcId="{24E88E14-440A-4EA0-A234-0ADA18B29B4F}" destId="{97F25404-FC84-450D-8951-4E955E43E8E5}" srcOrd="1" destOrd="0" presId="urn:microsoft.com/office/officeart/2005/8/layout/orgChart1"/>
    <dgm:cxn modelId="{AB09B08E-F0CF-406F-8C93-397A6FCC0C6E}" type="presParOf" srcId="{24E88E14-440A-4EA0-A234-0ADA18B29B4F}" destId="{3A712FDA-CF02-4EEC-8EAB-66C1DE00441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12E287-2CC8-44D3-BB0C-3208BD251FBD}">
      <dsp:nvSpPr>
        <dsp:cNvPr id="0" name=""/>
        <dsp:cNvSpPr/>
      </dsp:nvSpPr>
      <dsp:spPr>
        <a:xfrm>
          <a:off x="4231770" y="1108575"/>
          <a:ext cx="91440" cy="53565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35650"/>
              </a:lnTo>
              <a:lnTo>
                <a:pt x="99352" y="535650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2CD0C0-C8DF-40DB-B0D9-0FA1BF1FD55A}">
      <dsp:nvSpPr>
        <dsp:cNvPr id="0" name=""/>
        <dsp:cNvSpPr/>
      </dsp:nvSpPr>
      <dsp:spPr>
        <a:xfrm>
          <a:off x="4096893" y="1108575"/>
          <a:ext cx="180596" cy="320817"/>
        </a:xfrm>
        <a:custGeom>
          <a:avLst/>
          <a:gdLst/>
          <a:ahLst/>
          <a:cxnLst/>
          <a:rect l="0" t="0" r="0" b="0"/>
          <a:pathLst>
            <a:path>
              <a:moveTo>
                <a:pt x="180596" y="0"/>
              </a:moveTo>
              <a:lnTo>
                <a:pt x="180596" y="320817"/>
              </a:lnTo>
              <a:lnTo>
                <a:pt x="0" y="32081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4A5DAE-4FC7-44E6-B112-C26AF5CE6F7C}">
      <dsp:nvSpPr>
        <dsp:cNvPr id="0" name=""/>
        <dsp:cNvSpPr/>
      </dsp:nvSpPr>
      <dsp:spPr>
        <a:xfrm>
          <a:off x="5799738" y="2821957"/>
          <a:ext cx="311254" cy="22048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04810"/>
              </a:lnTo>
              <a:lnTo>
                <a:pt x="311254" y="2204810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D89B75-B02A-4833-8493-F3BF4C93BD5D}">
      <dsp:nvSpPr>
        <dsp:cNvPr id="0" name=""/>
        <dsp:cNvSpPr/>
      </dsp:nvSpPr>
      <dsp:spPr>
        <a:xfrm>
          <a:off x="5799738" y="2821957"/>
          <a:ext cx="299581" cy="13504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0491"/>
              </a:lnTo>
              <a:lnTo>
                <a:pt x="299581" y="1350491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F4DA66-7C2B-4199-A686-8492C8A49F52}">
      <dsp:nvSpPr>
        <dsp:cNvPr id="0" name=""/>
        <dsp:cNvSpPr/>
      </dsp:nvSpPr>
      <dsp:spPr>
        <a:xfrm>
          <a:off x="5799738" y="2821957"/>
          <a:ext cx="311254" cy="51353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3538"/>
              </a:lnTo>
              <a:lnTo>
                <a:pt x="311254" y="513538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1EEE41-6E25-4212-851E-0F79C9C0843C}">
      <dsp:nvSpPr>
        <dsp:cNvPr id="0" name=""/>
        <dsp:cNvSpPr/>
      </dsp:nvSpPr>
      <dsp:spPr>
        <a:xfrm>
          <a:off x="4277490" y="1108575"/>
          <a:ext cx="2747332" cy="11178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92805"/>
              </a:lnTo>
              <a:lnTo>
                <a:pt x="2747332" y="992805"/>
              </a:lnTo>
              <a:lnTo>
                <a:pt x="2747332" y="111786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6F240C-471E-43EE-8E42-BBE82B60C6A0}">
      <dsp:nvSpPr>
        <dsp:cNvPr id="0" name=""/>
        <dsp:cNvSpPr/>
      </dsp:nvSpPr>
      <dsp:spPr>
        <a:xfrm>
          <a:off x="3390242" y="2787620"/>
          <a:ext cx="91440" cy="223914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39147"/>
              </a:lnTo>
              <a:lnTo>
                <a:pt x="78394" y="2239147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AA669D-7B31-4F22-AFF3-15C836AEB8FD}">
      <dsp:nvSpPr>
        <dsp:cNvPr id="0" name=""/>
        <dsp:cNvSpPr/>
      </dsp:nvSpPr>
      <dsp:spPr>
        <a:xfrm>
          <a:off x="3390242" y="2787620"/>
          <a:ext cx="91440" cy="13935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93512"/>
              </a:lnTo>
              <a:lnTo>
                <a:pt x="78394" y="1393512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4D732B-A74E-4F20-BC66-A3D2007434B0}">
      <dsp:nvSpPr>
        <dsp:cNvPr id="0" name=""/>
        <dsp:cNvSpPr/>
      </dsp:nvSpPr>
      <dsp:spPr>
        <a:xfrm>
          <a:off x="3390242" y="2787620"/>
          <a:ext cx="91440" cy="54787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47876"/>
              </a:lnTo>
              <a:lnTo>
                <a:pt x="78394" y="547876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DBF0B4-360F-4BDF-ABD2-685F984F8B9C}">
      <dsp:nvSpPr>
        <dsp:cNvPr id="0" name=""/>
        <dsp:cNvSpPr/>
      </dsp:nvSpPr>
      <dsp:spPr>
        <a:xfrm>
          <a:off x="4231770" y="1108575"/>
          <a:ext cx="91440" cy="108352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58468"/>
              </a:lnTo>
              <a:lnTo>
                <a:pt x="71690" y="958468"/>
              </a:lnTo>
              <a:lnTo>
                <a:pt x="71690" y="108352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366E24-F50E-4360-A95C-716F645266C8}">
      <dsp:nvSpPr>
        <dsp:cNvPr id="0" name=""/>
        <dsp:cNvSpPr/>
      </dsp:nvSpPr>
      <dsp:spPr>
        <a:xfrm>
          <a:off x="626439" y="2787620"/>
          <a:ext cx="91440" cy="2239147"/>
        </a:xfrm>
        <a:custGeom>
          <a:avLst/>
          <a:gdLst/>
          <a:ahLst/>
          <a:cxnLst/>
          <a:rect l="0" t="0" r="0" b="0"/>
          <a:pathLst>
            <a:path>
              <a:moveTo>
                <a:pt x="60068" y="0"/>
              </a:moveTo>
              <a:lnTo>
                <a:pt x="45720" y="2239147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2575A0-4EF5-40BB-A45F-1BBDCD74EFA6}">
      <dsp:nvSpPr>
        <dsp:cNvPr id="0" name=""/>
        <dsp:cNvSpPr/>
      </dsp:nvSpPr>
      <dsp:spPr>
        <a:xfrm>
          <a:off x="626439" y="2787620"/>
          <a:ext cx="91440" cy="1393512"/>
        </a:xfrm>
        <a:custGeom>
          <a:avLst/>
          <a:gdLst/>
          <a:ahLst/>
          <a:cxnLst/>
          <a:rect l="0" t="0" r="0" b="0"/>
          <a:pathLst>
            <a:path>
              <a:moveTo>
                <a:pt x="60068" y="0"/>
              </a:moveTo>
              <a:lnTo>
                <a:pt x="45720" y="1393512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7DD3EF-0511-429A-AAB6-B96A93E2C493}">
      <dsp:nvSpPr>
        <dsp:cNvPr id="0" name=""/>
        <dsp:cNvSpPr/>
      </dsp:nvSpPr>
      <dsp:spPr>
        <a:xfrm>
          <a:off x="626439" y="2787620"/>
          <a:ext cx="91440" cy="547876"/>
        </a:xfrm>
        <a:custGeom>
          <a:avLst/>
          <a:gdLst/>
          <a:ahLst/>
          <a:cxnLst/>
          <a:rect l="0" t="0" r="0" b="0"/>
          <a:pathLst>
            <a:path>
              <a:moveTo>
                <a:pt x="60068" y="0"/>
              </a:moveTo>
              <a:lnTo>
                <a:pt x="45720" y="547876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0859DF-75E6-4500-8AAF-578F147C722A}">
      <dsp:nvSpPr>
        <dsp:cNvPr id="0" name=""/>
        <dsp:cNvSpPr/>
      </dsp:nvSpPr>
      <dsp:spPr>
        <a:xfrm>
          <a:off x="1755400" y="1108575"/>
          <a:ext cx="2522090" cy="1083527"/>
        </a:xfrm>
        <a:custGeom>
          <a:avLst/>
          <a:gdLst/>
          <a:ahLst/>
          <a:cxnLst/>
          <a:rect l="0" t="0" r="0" b="0"/>
          <a:pathLst>
            <a:path>
              <a:moveTo>
                <a:pt x="2522090" y="0"/>
              </a:moveTo>
              <a:lnTo>
                <a:pt x="2522090" y="958468"/>
              </a:lnTo>
              <a:lnTo>
                <a:pt x="0" y="958468"/>
              </a:lnTo>
              <a:lnTo>
                <a:pt x="0" y="1083527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6733B0-5C0F-4626-B169-355447CCF9F9}">
      <dsp:nvSpPr>
        <dsp:cNvPr id="0" name=""/>
        <dsp:cNvSpPr/>
      </dsp:nvSpPr>
      <dsp:spPr>
        <a:xfrm>
          <a:off x="2478186" y="513057"/>
          <a:ext cx="3598607" cy="59551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tx1"/>
              </a:solidFill>
            </a:rPr>
            <a:t>Виды работ</a:t>
          </a:r>
          <a:endParaRPr lang="ru-RU" sz="2400" b="1" kern="1200" dirty="0">
            <a:solidFill>
              <a:schemeClr val="tx1"/>
            </a:solidFill>
          </a:endParaRPr>
        </a:p>
      </dsp:txBody>
      <dsp:txXfrm>
        <a:off x="2478186" y="513057"/>
        <a:ext cx="3598607" cy="595517"/>
      </dsp:txXfrm>
    </dsp:sp>
    <dsp:sp modelId="{552B00D1-BFD8-4B1E-8FC4-10C3E5B56EE2}">
      <dsp:nvSpPr>
        <dsp:cNvPr id="0" name=""/>
        <dsp:cNvSpPr/>
      </dsp:nvSpPr>
      <dsp:spPr>
        <a:xfrm>
          <a:off x="419284" y="2192102"/>
          <a:ext cx="2672232" cy="59551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Ориентировочные задания</a:t>
          </a:r>
          <a:endParaRPr lang="ru-RU" sz="2000" b="1" kern="1200" dirty="0"/>
        </a:p>
      </dsp:txBody>
      <dsp:txXfrm>
        <a:off x="419284" y="2192102"/>
        <a:ext cx="2672232" cy="595517"/>
      </dsp:txXfrm>
    </dsp:sp>
    <dsp:sp modelId="{040AAB5D-B2B8-44D8-800F-2600232A76F5}">
      <dsp:nvSpPr>
        <dsp:cNvPr id="0" name=""/>
        <dsp:cNvSpPr/>
      </dsp:nvSpPr>
      <dsp:spPr>
        <a:xfrm>
          <a:off x="672159" y="3037737"/>
          <a:ext cx="2290624" cy="5955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Структурировать</a:t>
          </a:r>
          <a:endParaRPr lang="ru-RU" sz="2000" b="1" kern="1200" dirty="0"/>
        </a:p>
      </dsp:txBody>
      <dsp:txXfrm>
        <a:off x="672159" y="3037737"/>
        <a:ext cx="2290624" cy="595517"/>
      </dsp:txXfrm>
    </dsp:sp>
    <dsp:sp modelId="{381EC39F-1D0F-4FDC-B4A2-BA956C94EB09}">
      <dsp:nvSpPr>
        <dsp:cNvPr id="0" name=""/>
        <dsp:cNvSpPr/>
      </dsp:nvSpPr>
      <dsp:spPr>
        <a:xfrm>
          <a:off x="672159" y="3883373"/>
          <a:ext cx="1995664" cy="5955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Упорядочить</a:t>
          </a:r>
          <a:endParaRPr lang="ru-RU" sz="2000" b="1" kern="1200" dirty="0"/>
        </a:p>
      </dsp:txBody>
      <dsp:txXfrm>
        <a:off x="672159" y="3883373"/>
        <a:ext cx="1995664" cy="595517"/>
      </dsp:txXfrm>
    </dsp:sp>
    <dsp:sp modelId="{BD5E310E-3C71-4B86-BF20-9E40289285BC}">
      <dsp:nvSpPr>
        <dsp:cNvPr id="0" name=""/>
        <dsp:cNvSpPr/>
      </dsp:nvSpPr>
      <dsp:spPr>
        <a:xfrm>
          <a:off x="672159" y="4729008"/>
          <a:ext cx="1191035" cy="5955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….</a:t>
          </a:r>
          <a:endParaRPr lang="ru-RU" sz="2000" kern="1200" dirty="0"/>
        </a:p>
      </dsp:txBody>
      <dsp:txXfrm>
        <a:off x="672159" y="4729008"/>
        <a:ext cx="1191035" cy="595517"/>
      </dsp:txXfrm>
    </dsp:sp>
    <dsp:sp modelId="{5109B5C1-64F0-411A-8C4A-EE10DDB8954B}">
      <dsp:nvSpPr>
        <dsp:cNvPr id="0" name=""/>
        <dsp:cNvSpPr/>
      </dsp:nvSpPr>
      <dsp:spPr>
        <a:xfrm>
          <a:off x="3219088" y="2192102"/>
          <a:ext cx="2168745" cy="59551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Работа по инструкции</a:t>
          </a:r>
          <a:endParaRPr lang="ru-RU" sz="2000" b="1" kern="1200" dirty="0"/>
        </a:p>
      </dsp:txBody>
      <dsp:txXfrm>
        <a:off x="3219088" y="2192102"/>
        <a:ext cx="2168745" cy="595517"/>
      </dsp:txXfrm>
    </dsp:sp>
    <dsp:sp modelId="{061961E1-1E99-416F-8BBC-A87CB4089607}">
      <dsp:nvSpPr>
        <dsp:cNvPr id="0" name=""/>
        <dsp:cNvSpPr/>
      </dsp:nvSpPr>
      <dsp:spPr>
        <a:xfrm>
          <a:off x="3468637" y="3037737"/>
          <a:ext cx="1712650" cy="5955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Публикация сообщений</a:t>
          </a:r>
          <a:endParaRPr lang="ru-RU" sz="2000" b="1" kern="1200" dirty="0"/>
        </a:p>
      </dsp:txBody>
      <dsp:txXfrm>
        <a:off x="3468637" y="3037737"/>
        <a:ext cx="1712650" cy="595517"/>
      </dsp:txXfrm>
    </dsp:sp>
    <dsp:sp modelId="{C19C5CB4-08ED-48AE-98B1-06B25F2749BC}">
      <dsp:nvSpPr>
        <dsp:cNvPr id="0" name=""/>
        <dsp:cNvSpPr/>
      </dsp:nvSpPr>
      <dsp:spPr>
        <a:xfrm>
          <a:off x="3468637" y="3883373"/>
          <a:ext cx="1653086" cy="5955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Проверка грамотности</a:t>
          </a:r>
          <a:endParaRPr lang="ru-RU" sz="2000" b="1" kern="1200" dirty="0"/>
        </a:p>
      </dsp:txBody>
      <dsp:txXfrm>
        <a:off x="3468637" y="3883373"/>
        <a:ext cx="1653086" cy="595517"/>
      </dsp:txXfrm>
    </dsp:sp>
    <dsp:sp modelId="{4BC314D7-40E8-4675-97CC-5D250CD57794}">
      <dsp:nvSpPr>
        <dsp:cNvPr id="0" name=""/>
        <dsp:cNvSpPr/>
      </dsp:nvSpPr>
      <dsp:spPr>
        <a:xfrm>
          <a:off x="3468637" y="4729008"/>
          <a:ext cx="1191035" cy="5955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…</a:t>
          </a:r>
          <a:endParaRPr lang="ru-RU" sz="2000" kern="1200" dirty="0"/>
        </a:p>
      </dsp:txBody>
      <dsp:txXfrm>
        <a:off x="3468637" y="4729008"/>
        <a:ext cx="1191035" cy="595517"/>
      </dsp:txXfrm>
    </dsp:sp>
    <dsp:sp modelId="{D648D375-7289-4207-AE79-E9F00AA79165}">
      <dsp:nvSpPr>
        <dsp:cNvPr id="0" name=""/>
        <dsp:cNvSpPr/>
      </dsp:nvSpPr>
      <dsp:spPr>
        <a:xfrm>
          <a:off x="5493466" y="2226439"/>
          <a:ext cx="3062713" cy="595517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Творческая работа</a:t>
          </a:r>
          <a:endParaRPr lang="ru-RU" sz="2000" b="1" kern="1200" dirty="0"/>
        </a:p>
      </dsp:txBody>
      <dsp:txXfrm>
        <a:off x="5493466" y="2226439"/>
        <a:ext cx="3062713" cy="595517"/>
      </dsp:txXfrm>
    </dsp:sp>
    <dsp:sp modelId="{1660D98B-1174-4F83-986F-AE8B89029297}">
      <dsp:nvSpPr>
        <dsp:cNvPr id="0" name=""/>
        <dsp:cNvSpPr/>
      </dsp:nvSpPr>
      <dsp:spPr>
        <a:xfrm>
          <a:off x="6110992" y="3037737"/>
          <a:ext cx="2388277" cy="5955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Сделать рисунок</a:t>
          </a:r>
          <a:endParaRPr lang="ru-RU" sz="2000" b="1" kern="1200" dirty="0"/>
        </a:p>
      </dsp:txBody>
      <dsp:txXfrm>
        <a:off x="6110992" y="3037737"/>
        <a:ext cx="2388277" cy="595517"/>
      </dsp:txXfrm>
    </dsp:sp>
    <dsp:sp modelId="{838267CF-C4CF-44F1-8110-D602B61B202A}">
      <dsp:nvSpPr>
        <dsp:cNvPr id="0" name=""/>
        <dsp:cNvSpPr/>
      </dsp:nvSpPr>
      <dsp:spPr>
        <a:xfrm>
          <a:off x="6099319" y="3874690"/>
          <a:ext cx="2500329" cy="5955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Написать рассказ</a:t>
          </a:r>
          <a:endParaRPr lang="ru-RU" sz="2000" b="1" kern="1200" dirty="0"/>
        </a:p>
      </dsp:txBody>
      <dsp:txXfrm>
        <a:off x="6099319" y="3874690"/>
        <a:ext cx="2500329" cy="595517"/>
      </dsp:txXfrm>
    </dsp:sp>
    <dsp:sp modelId="{CBCBC793-891D-4CA9-AB1C-F041AE9CA8E7}">
      <dsp:nvSpPr>
        <dsp:cNvPr id="0" name=""/>
        <dsp:cNvSpPr/>
      </dsp:nvSpPr>
      <dsp:spPr>
        <a:xfrm>
          <a:off x="6110992" y="4729008"/>
          <a:ext cx="1191035" cy="5955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…</a:t>
          </a:r>
          <a:endParaRPr lang="ru-RU" sz="2000" kern="1200" dirty="0"/>
        </a:p>
      </dsp:txBody>
      <dsp:txXfrm>
        <a:off x="6110992" y="4729008"/>
        <a:ext cx="1191035" cy="595517"/>
      </dsp:txXfrm>
    </dsp:sp>
    <dsp:sp modelId="{DBBFDB82-DBB8-4EF1-8802-AB3FC8C03278}">
      <dsp:nvSpPr>
        <dsp:cNvPr id="0" name=""/>
        <dsp:cNvSpPr/>
      </dsp:nvSpPr>
      <dsp:spPr>
        <a:xfrm>
          <a:off x="669247" y="1214556"/>
          <a:ext cx="3427646" cy="429672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bg1"/>
              </a:solidFill>
            </a:rPr>
            <a:t>Совместная</a:t>
          </a:r>
          <a:r>
            <a:rPr lang="ru-RU" sz="2000" kern="1200" dirty="0" smtClean="0"/>
            <a:t> </a:t>
          </a:r>
          <a:r>
            <a:rPr lang="ru-RU" sz="2000" b="1" kern="1200" dirty="0" smtClean="0">
              <a:solidFill>
                <a:schemeClr val="bg1"/>
              </a:solidFill>
            </a:rPr>
            <a:t>работа</a:t>
          </a:r>
          <a:endParaRPr lang="ru-RU" sz="2000" b="1" kern="1200" dirty="0">
            <a:solidFill>
              <a:schemeClr val="bg1"/>
            </a:solidFill>
          </a:endParaRPr>
        </a:p>
      </dsp:txBody>
      <dsp:txXfrm>
        <a:off x="669247" y="1214556"/>
        <a:ext cx="3427646" cy="429672"/>
      </dsp:txXfrm>
    </dsp:sp>
    <dsp:sp modelId="{46D88072-1300-4952-B250-852A8A0EA5FF}">
      <dsp:nvSpPr>
        <dsp:cNvPr id="0" name=""/>
        <dsp:cNvSpPr/>
      </dsp:nvSpPr>
      <dsp:spPr>
        <a:xfrm>
          <a:off x="4331122" y="1386422"/>
          <a:ext cx="3544939" cy="515605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Индивидуальная работа</a:t>
          </a:r>
          <a:endParaRPr lang="ru-RU" sz="2000" b="1" kern="1200" dirty="0"/>
        </a:p>
      </dsp:txBody>
      <dsp:txXfrm>
        <a:off x="4331122" y="1386422"/>
        <a:ext cx="3544939" cy="5156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8C65D8-2953-44C1-9ABE-305DAB11C99B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9FDE26-9863-4278-AB9E-224EB737C52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04515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29699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34819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noFill/>
          <a:ln/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225588" y="-11796713"/>
            <a:ext cx="16651288" cy="12490451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4915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3225" cy="4111625"/>
          </a:xfrm>
          <a:noFill/>
          <a:ln/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58A6A4-B343-4881-A21D-64D7A58D9805}" type="slidenum">
              <a:rPr lang="ru-RU"/>
              <a:pPr/>
              <a:t>26</a:t>
            </a:fld>
            <a:endParaRPr lang="ru-RU" dirty="0">
              <a:latin typeface="Arial Cyr" charset="-52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9FDE26-9863-4278-AB9E-224EB737C526}" type="slidenum">
              <a:rPr lang="ru-RU" smtClean="0"/>
              <a:pPr/>
              <a:t>28</a:t>
            </a:fld>
            <a:endParaRPr lang="ru-RU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225588" y="-11796713"/>
            <a:ext cx="16651288" cy="12490451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51203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3225" cy="4111625"/>
          </a:xfrm>
          <a:noFill/>
          <a:ln/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58A6A4-B343-4881-A21D-64D7A58D9805}" type="slidenum">
              <a:rPr lang="ru-RU"/>
              <a:pPr/>
              <a:t>30</a:t>
            </a:fld>
            <a:endParaRPr lang="ru-RU" dirty="0">
              <a:latin typeface="Arial Cyr" charset="-52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58A6A4-B343-4881-A21D-64D7A58D9805}" type="slidenum">
              <a:rPr lang="ru-RU"/>
              <a:pPr/>
              <a:t>2</a:t>
            </a:fld>
            <a:endParaRPr lang="ru-RU" dirty="0">
              <a:latin typeface="Arial Cyr" charset="-52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58A6A4-B343-4881-A21D-64D7A58D9805}" type="slidenum">
              <a:rPr lang="ru-RU"/>
              <a:pPr/>
              <a:t>3</a:t>
            </a:fld>
            <a:endParaRPr lang="ru-RU" dirty="0">
              <a:latin typeface="Arial Cyr" charset="-52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58A6A4-B343-4881-A21D-64D7A58D9805}" type="slidenum">
              <a:rPr lang="ru-RU"/>
              <a:pPr/>
              <a:t>4</a:t>
            </a:fld>
            <a:endParaRPr lang="ru-RU" dirty="0">
              <a:latin typeface="Arial Cyr" charset="-52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58A6A4-B343-4881-A21D-64D7A58D9805}" type="slidenum">
              <a:rPr lang="ru-RU"/>
              <a:pPr/>
              <a:t>5</a:t>
            </a:fld>
            <a:endParaRPr lang="ru-RU" dirty="0">
              <a:latin typeface="Arial Cyr" charset="-52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58A6A4-B343-4881-A21D-64D7A58D9805}" type="slidenum">
              <a:rPr lang="ru-RU"/>
              <a:pPr/>
              <a:t>6</a:t>
            </a:fld>
            <a:endParaRPr lang="ru-RU" dirty="0">
              <a:latin typeface="Arial Cyr" charset="-52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dirty="0" smtClean="0"/>
              <a:t>Актуальность </a:t>
            </a:r>
            <a:r>
              <a:rPr lang="ru-RU" dirty="0" err="1" smtClean="0"/>
              <a:t>соц</a:t>
            </a:r>
            <a:r>
              <a:rPr lang="ru-RU" dirty="0" smtClean="0"/>
              <a:t> заказа определена Медведевы</a:t>
            </a:r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268BAA2-BAE7-4596-B841-AB7DBCD51B48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58A6A4-B343-4881-A21D-64D7A58D9805}" type="slidenum">
              <a:rPr lang="ru-RU"/>
              <a:pPr/>
              <a:t>9</a:t>
            </a:fld>
            <a:endParaRPr lang="ru-RU" dirty="0">
              <a:latin typeface="Arial Cyr" charset="-52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058A6A4-B343-4881-A21D-64D7A58D9805}" type="slidenum">
              <a:rPr lang="ru-RU"/>
              <a:pPr/>
              <a:t>10</a:t>
            </a:fld>
            <a:endParaRPr lang="ru-RU" dirty="0">
              <a:latin typeface="Arial Cyr" charset="-52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31863" y="96838"/>
            <a:ext cx="7158037" cy="14128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949325" y="1981200"/>
            <a:ext cx="7661275" cy="41148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4615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528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056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7BC7723F-ABDC-433C-9BD8-17395FEEC027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checker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med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03.02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med">
    <p:wipe/>
  </p:transition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gif"/><Relationship Id="rId4" Type="http://schemas.openxmlformats.org/officeDocument/2006/relationships/image" Target="../media/image18.w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eor.edu.ru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www.edu.ru/" TargetMode="External"/><Relationship Id="rId5" Type="http://schemas.openxmlformats.org/officeDocument/2006/relationships/hyperlink" Target="http://window.edu.ru/" TargetMode="External"/><Relationship Id="rId4" Type="http://schemas.openxmlformats.org/officeDocument/2006/relationships/hyperlink" Target="http://school-collection.edu.ru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gi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1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w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w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gif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Relationship Id="rId9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4.jpe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Text Box 1"/>
          <p:cNvSpPr txBox="1">
            <a:spLocks noChangeArrowheads="1"/>
          </p:cNvSpPr>
          <p:nvPr/>
        </p:nvSpPr>
        <p:spPr bwMode="auto">
          <a:xfrm>
            <a:off x="1115616" y="360363"/>
            <a:ext cx="8028384" cy="62372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dirty="0">
                <a:solidFill>
                  <a:srgbClr val="002060"/>
                </a:solidFill>
                <a:cs typeface="Times New Roman" pitchFamily="16" charset="0"/>
              </a:rPr>
              <a:t> </a:t>
            </a:r>
          </a:p>
          <a:p>
            <a:pPr algn="ctr" eaLnBrk="0" hangingPunct="0">
              <a:spcBef>
                <a:spcPts val="8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3200" b="1" i="1" dirty="0">
                <a:solidFill>
                  <a:srgbClr val="C00000"/>
                </a:solidFill>
                <a:latin typeface="Times New Roman" pitchFamily="16" charset="0"/>
              </a:rPr>
              <a:t> </a:t>
            </a:r>
            <a:r>
              <a:rPr lang="ru-RU" sz="3600" b="1" i="1" dirty="0" smtClean="0">
                <a:solidFill>
                  <a:srgbClr val="000080"/>
                </a:solidFill>
                <a:latin typeface="Comic Sans MS" pitchFamily="64" charset="0"/>
                <a:cs typeface="Times New Roman" pitchFamily="16" charset="0"/>
              </a:rPr>
              <a:t>Мы </a:t>
            </a:r>
            <a:r>
              <a:rPr lang="ru-RU" sz="3600" b="1" i="1" dirty="0">
                <a:solidFill>
                  <a:srgbClr val="000080"/>
                </a:solidFill>
                <a:latin typeface="Comic Sans MS" pitchFamily="64" charset="0"/>
                <a:cs typeface="Times New Roman" pitchFamily="16" charset="0"/>
              </a:rPr>
              <a:t>должны сами верить в то, чему учим наших детей.</a:t>
            </a:r>
          </a:p>
          <a:p>
            <a:pPr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i="1" dirty="0">
                <a:solidFill>
                  <a:srgbClr val="C5000B"/>
                </a:solidFill>
                <a:latin typeface="Comic Sans MS" pitchFamily="64" charset="0"/>
                <a:cs typeface="Times New Roman" pitchFamily="16" charset="0"/>
              </a:rPr>
              <a:t>В. Вильсон </a:t>
            </a:r>
          </a:p>
          <a:p>
            <a:pPr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ru-RU" sz="3600" b="1" i="1" dirty="0">
              <a:solidFill>
                <a:srgbClr val="000080"/>
              </a:solidFill>
              <a:latin typeface="Comic Sans MS" pitchFamily="64" charset="0"/>
              <a:cs typeface="Times New Roman" pitchFamily="16" charset="0"/>
            </a:endParaRPr>
          </a:p>
          <a:p>
            <a:pPr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dirty="0">
                <a:solidFill>
                  <a:srgbClr val="002060"/>
                </a:solidFill>
                <a:cs typeface="Times New Roman" pitchFamily="16" charset="0"/>
              </a:rPr>
              <a:t>          </a:t>
            </a:r>
            <a:endParaRPr lang="ru-RU" sz="2800" b="1" dirty="0" smtClean="0">
              <a:solidFill>
                <a:srgbClr val="002060"/>
              </a:solidFill>
              <a:cs typeface="Times New Roman" pitchFamily="16" charset="0"/>
            </a:endParaRPr>
          </a:p>
          <a:p>
            <a:pPr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dirty="0" smtClean="0">
                <a:solidFill>
                  <a:srgbClr val="002060"/>
                </a:solidFill>
                <a:cs typeface="Times New Roman" pitchFamily="16" charset="0"/>
              </a:rPr>
              <a:t> </a:t>
            </a:r>
            <a:r>
              <a:rPr lang="ru-RU" sz="2800" b="1" dirty="0" smtClean="0">
                <a:solidFill>
                  <a:srgbClr val="002060"/>
                </a:solidFill>
                <a:cs typeface="Times New Roman" pitchFamily="16" charset="0"/>
              </a:rPr>
              <a:t>МКОУ «СОШ № 12» </a:t>
            </a:r>
            <a:endParaRPr lang="ru-RU" sz="2800" b="1" dirty="0">
              <a:solidFill>
                <a:srgbClr val="002060"/>
              </a:solidFill>
              <a:cs typeface="Times New Roman" pitchFamily="16" charset="0"/>
            </a:endParaRPr>
          </a:p>
          <a:p>
            <a:pPr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dirty="0" smtClean="0">
                <a:solidFill>
                  <a:srgbClr val="002060"/>
                </a:solidFill>
                <a:cs typeface="Times New Roman" pitchFamily="16" charset="0"/>
              </a:rPr>
              <a:t>Нагаева</a:t>
            </a:r>
            <a:endParaRPr lang="ru-RU" sz="2800" b="1" dirty="0">
              <a:solidFill>
                <a:srgbClr val="002060"/>
              </a:solidFill>
              <a:cs typeface="Times New Roman" pitchFamily="16" charset="0"/>
            </a:endParaRPr>
          </a:p>
          <a:p>
            <a:pPr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dirty="0">
                <a:solidFill>
                  <a:srgbClr val="002060"/>
                </a:solidFill>
                <a:cs typeface="Times New Roman" pitchFamily="16" charset="0"/>
              </a:rPr>
              <a:t>            </a:t>
            </a:r>
            <a:r>
              <a:rPr lang="ru-RU" sz="2800" b="1" dirty="0" smtClean="0">
                <a:solidFill>
                  <a:srgbClr val="002060"/>
                </a:solidFill>
                <a:cs typeface="Times New Roman" pitchFamily="16" charset="0"/>
              </a:rPr>
              <a:t>Анжелика Юрьевна,</a:t>
            </a:r>
            <a:endParaRPr lang="ru-RU" sz="2800" b="1" dirty="0">
              <a:solidFill>
                <a:srgbClr val="002060"/>
              </a:solidFill>
              <a:cs typeface="Times New Roman" pitchFamily="16" charset="0"/>
            </a:endParaRPr>
          </a:p>
          <a:p>
            <a:pPr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dirty="0">
                <a:solidFill>
                  <a:srgbClr val="002060"/>
                </a:solidFill>
                <a:cs typeface="Times New Roman" pitchFamily="16" charset="0"/>
              </a:rPr>
              <a:t>            учитель </a:t>
            </a:r>
            <a:r>
              <a:rPr lang="ru-RU" sz="2800" b="1" dirty="0" smtClean="0">
                <a:solidFill>
                  <a:srgbClr val="002060"/>
                </a:solidFill>
                <a:cs typeface="Times New Roman" pitchFamily="16" charset="0"/>
              </a:rPr>
              <a:t>информатики</a:t>
            </a:r>
          </a:p>
          <a:p>
            <a:pPr algn="ct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ru-RU" sz="2800" b="1" dirty="0">
              <a:solidFill>
                <a:srgbClr val="002060"/>
              </a:solidFill>
              <a:cs typeface="Times New Roman" pitchFamily="16" charset="0"/>
            </a:endParaRPr>
          </a:p>
          <a:p>
            <a:pPr algn="ctr">
              <a:lnSpc>
                <a:spcPct val="80000"/>
              </a:lnSpc>
              <a:spcBef>
                <a:spcPts val="45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ru-RU" sz="2800" b="1" dirty="0">
              <a:solidFill>
                <a:srgbClr val="002060"/>
              </a:solidFill>
              <a:cs typeface="Times New Roman" pitchFamily="16" charset="0"/>
            </a:endParaRPr>
          </a:p>
        </p:txBody>
      </p:sp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35496" y="0"/>
            <a:ext cx="755575" cy="6858000"/>
            <a:chOff x="205" y="1"/>
            <a:chExt cx="406" cy="3836"/>
          </a:xfrm>
        </p:grpSpPr>
        <p:grpSp>
          <p:nvGrpSpPr>
            <p:cNvPr id="5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3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4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5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6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7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" dur="2000"/>
                                        <p:tgtEl>
                                          <p:spTgt spid="40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35496" y="0"/>
            <a:ext cx="792088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58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59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0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4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5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2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3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6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7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6" name="Заголовок 25"/>
          <p:cNvSpPr>
            <a:spLocks noGrp="1"/>
          </p:cNvSpPr>
          <p:nvPr>
            <p:ph type="ctrTitle"/>
          </p:nvPr>
        </p:nvSpPr>
        <p:spPr>
          <a:xfrm>
            <a:off x="3491880" y="1268760"/>
            <a:ext cx="4174232" cy="1370583"/>
          </a:xfrm>
        </p:spPr>
        <p:txBody>
          <a:bodyPr/>
          <a:lstStyle/>
          <a:p>
            <a:r>
              <a:rPr lang="ru-RU" dirty="0" smtClean="0"/>
              <a:t> </a:t>
            </a:r>
            <a:r>
              <a:rPr lang="ru-RU" sz="4000" b="1" dirty="0" smtClean="0">
                <a:solidFill>
                  <a:schemeClr val="accent1">
                    <a:lumMod val="75000"/>
                  </a:schemeClr>
                </a:solidFill>
              </a:rPr>
              <a:t>Хочу всё знать</a:t>
            </a:r>
            <a:endParaRPr lang="ru-RU" sz="4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763688" y="2780928"/>
            <a:ext cx="6912768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i="1" dirty="0" smtClean="0">
                <a:solidFill>
                  <a:schemeClr val="accent1">
                    <a:lumMod val="75000"/>
                  </a:schemeClr>
                </a:solidFill>
              </a:rPr>
              <a:t> « Именно то, как вы собираете, организуете и используете информацию, определяет  победите вы или проиграете»</a:t>
            </a:r>
          </a:p>
          <a:p>
            <a:pPr algn="r"/>
            <a:r>
              <a:rPr lang="ru-RU" sz="3200" b="1" i="1" dirty="0" smtClean="0">
                <a:solidFill>
                  <a:srgbClr val="FF0000"/>
                </a:solidFill>
              </a:rPr>
              <a:t>Билл Гейтс</a:t>
            </a:r>
          </a:p>
          <a:p>
            <a:pPr algn="ctr"/>
            <a:r>
              <a:rPr lang="ru-RU" sz="2800" b="1" i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ru-RU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Box 1"/>
          <p:cNvSpPr txBox="1">
            <a:spLocks noChangeArrowheads="1"/>
          </p:cNvSpPr>
          <p:nvPr/>
        </p:nvSpPr>
        <p:spPr bwMode="auto">
          <a:xfrm>
            <a:off x="500063" y="428625"/>
            <a:ext cx="3543300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8195" name="Text Box 2"/>
          <p:cNvSpPr txBox="1">
            <a:spLocks noChangeArrowheads="1"/>
          </p:cNvSpPr>
          <p:nvPr/>
        </p:nvSpPr>
        <p:spPr bwMode="auto">
          <a:xfrm>
            <a:off x="457200" y="1600200"/>
            <a:ext cx="3471863" cy="45259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8196" name="Text Box 3"/>
          <p:cNvSpPr txBox="1">
            <a:spLocks noChangeArrowheads="1"/>
          </p:cNvSpPr>
          <p:nvPr/>
        </p:nvSpPr>
        <p:spPr bwMode="auto">
          <a:xfrm>
            <a:off x="5214938" y="1600200"/>
            <a:ext cx="3471862" cy="45259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2051720" y="2420888"/>
            <a:ext cx="5595937" cy="7651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hangingPunct="0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4400" b="1" dirty="0">
                <a:solidFill>
                  <a:srgbClr val="C00000"/>
                </a:solidFill>
              </a:rPr>
              <a:t> </a:t>
            </a:r>
            <a:r>
              <a:rPr lang="ru-RU" sz="4400" b="1" dirty="0">
                <a:solidFill>
                  <a:srgbClr val="00008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Выбор технологии</a:t>
            </a:r>
          </a:p>
        </p:txBody>
      </p:sp>
      <p:sp>
        <p:nvSpPr>
          <p:cNvPr id="9221" name="Text Box 5"/>
          <p:cNvSpPr txBox="1">
            <a:spLocks noChangeArrowheads="1"/>
          </p:cNvSpPr>
          <p:nvPr/>
        </p:nvSpPr>
        <p:spPr bwMode="auto">
          <a:xfrm>
            <a:off x="1259632" y="0"/>
            <a:ext cx="5147295" cy="22415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5000" rIns="90000" bIns="45000"/>
          <a:lstStyle/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600" b="1" i="1" dirty="0">
                <a:solidFill>
                  <a:srgbClr val="000080"/>
                </a:solidFill>
              </a:rPr>
              <a:t>Кто не знает куда направляется, </a:t>
            </a:r>
            <a:endParaRPr lang="ru-RU" sz="2600" b="1" i="1" dirty="0" smtClean="0">
              <a:solidFill>
                <a:srgbClr val="000080"/>
              </a:solidFill>
            </a:endParaRPr>
          </a:p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600" b="1" i="1" dirty="0" smtClean="0">
                <a:solidFill>
                  <a:srgbClr val="000080"/>
                </a:solidFill>
              </a:rPr>
              <a:t>тот </a:t>
            </a:r>
            <a:r>
              <a:rPr lang="ru-RU" sz="2600" b="1" i="1" dirty="0">
                <a:solidFill>
                  <a:srgbClr val="000080"/>
                </a:solidFill>
              </a:rPr>
              <a:t>очень удивится, </a:t>
            </a:r>
            <a:endParaRPr lang="ru-RU" sz="2600" b="1" i="1" dirty="0" smtClean="0">
              <a:solidFill>
                <a:srgbClr val="000080"/>
              </a:solidFill>
            </a:endParaRPr>
          </a:p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600" b="1" i="1" dirty="0" smtClean="0">
                <a:solidFill>
                  <a:srgbClr val="000080"/>
                </a:solidFill>
              </a:rPr>
              <a:t>попав </a:t>
            </a:r>
            <a:r>
              <a:rPr lang="ru-RU" sz="2600" b="1" i="1" dirty="0">
                <a:solidFill>
                  <a:srgbClr val="000080"/>
                </a:solidFill>
              </a:rPr>
              <a:t>не туда.</a:t>
            </a:r>
          </a:p>
          <a:p>
            <a:pPr algn="r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600" b="1" i="1" dirty="0">
                <a:solidFill>
                  <a:srgbClr val="C00000"/>
                </a:solidFill>
              </a:rPr>
              <a:t>Марк Твен</a:t>
            </a:r>
          </a:p>
        </p:txBody>
      </p:sp>
      <p:pic>
        <p:nvPicPr>
          <p:cNvPr id="8199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4248" y="0"/>
            <a:ext cx="1979613" cy="2339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9223" name="Text Box 7"/>
          <p:cNvSpPr txBox="1">
            <a:spLocks noChangeArrowheads="1"/>
          </p:cNvSpPr>
          <p:nvPr/>
        </p:nvSpPr>
        <p:spPr bwMode="auto">
          <a:xfrm>
            <a:off x="1115616" y="3429000"/>
            <a:ext cx="7308924" cy="13700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5000" rIns="90000" bIns="45000"/>
          <a:lstStyle/>
          <a:p>
            <a:pPr algn="just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b="1" dirty="0">
                <a:solidFill>
                  <a:srgbClr val="600000"/>
                </a:solidFill>
              </a:rPr>
              <a:t> </a:t>
            </a:r>
            <a:r>
              <a:rPr lang="ru-RU" sz="2800" b="1" dirty="0">
                <a:solidFill>
                  <a:srgbClr val="000080"/>
                </a:solidFill>
              </a:rPr>
              <a:t>Создано большое число инновационных технологий, но они </a:t>
            </a:r>
            <a:r>
              <a:rPr lang="ru-RU" sz="2800" b="1" i="1" dirty="0">
                <a:solidFill>
                  <a:srgbClr val="000080"/>
                </a:solidFill>
              </a:rPr>
              <a:t>разрозненны</a:t>
            </a:r>
            <a:r>
              <a:rPr lang="ru-RU" sz="2800" b="1" dirty="0">
                <a:solidFill>
                  <a:srgbClr val="000080"/>
                </a:solidFill>
              </a:rPr>
              <a:t> и не имеет определенной системы применения.</a:t>
            </a:r>
          </a:p>
        </p:txBody>
      </p:sp>
      <p:sp>
        <p:nvSpPr>
          <p:cNvPr id="9224" name="Text Box 8"/>
          <p:cNvSpPr txBox="1">
            <a:spLocks noChangeArrowheads="1"/>
          </p:cNvSpPr>
          <p:nvPr/>
        </p:nvSpPr>
        <p:spPr bwMode="auto">
          <a:xfrm>
            <a:off x="1115616" y="5085184"/>
            <a:ext cx="6624736" cy="144871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5000" rIns="90000" bIns="45000"/>
          <a:lstStyle/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dirty="0">
                <a:solidFill>
                  <a:srgbClr val="000080"/>
                </a:solidFill>
              </a:rPr>
              <a:t>       В 1998 году в сборник  </a:t>
            </a:r>
            <a:r>
              <a:rPr lang="ru-RU" sz="2800" b="1" dirty="0" err="1" smtClean="0">
                <a:solidFill>
                  <a:srgbClr val="000080"/>
                </a:solidFill>
              </a:rPr>
              <a:t>Селевко</a:t>
            </a:r>
            <a:r>
              <a:rPr lang="ru-RU" sz="2800" b="1" dirty="0" smtClean="0">
                <a:solidFill>
                  <a:srgbClr val="000080"/>
                </a:solidFill>
              </a:rPr>
              <a:t> было включено </a:t>
            </a:r>
            <a:r>
              <a:rPr lang="ru-RU" sz="2800" b="1" dirty="0">
                <a:solidFill>
                  <a:srgbClr val="000080"/>
                </a:solidFill>
              </a:rPr>
              <a:t>44 </a:t>
            </a:r>
            <a:r>
              <a:rPr lang="ru-RU" sz="2800" b="1" dirty="0" smtClean="0">
                <a:solidFill>
                  <a:srgbClr val="000080"/>
                </a:solidFill>
              </a:rPr>
              <a:t>педагогических </a:t>
            </a:r>
            <a:r>
              <a:rPr lang="ru-RU" sz="2800" b="1" dirty="0">
                <a:solidFill>
                  <a:srgbClr val="000080"/>
                </a:solidFill>
              </a:rPr>
              <a:t>технологии</a:t>
            </a:r>
            <a:r>
              <a:rPr lang="ru-RU" sz="2800" b="1" dirty="0" smtClean="0">
                <a:solidFill>
                  <a:srgbClr val="000080"/>
                </a:solidFill>
              </a:rPr>
              <a:t>.</a:t>
            </a:r>
          </a:p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b="1" dirty="0" smtClean="0">
                <a:solidFill>
                  <a:srgbClr val="000080"/>
                </a:solidFill>
              </a:rPr>
              <a:t> Сейчас их число увеличилось.</a:t>
            </a:r>
            <a:endParaRPr lang="ru-RU" sz="2800" b="1" dirty="0">
              <a:solidFill>
                <a:srgbClr val="000080"/>
              </a:solidFill>
            </a:endParaRPr>
          </a:p>
        </p:txBody>
      </p:sp>
      <p:grpSp>
        <p:nvGrpSpPr>
          <p:cNvPr id="10" name="Group 29"/>
          <p:cNvGrpSpPr>
            <a:grpSpLocks/>
          </p:cNvGrpSpPr>
          <p:nvPr/>
        </p:nvGrpSpPr>
        <p:grpSpPr bwMode="auto">
          <a:xfrm>
            <a:off x="0" y="0"/>
            <a:ext cx="899592" cy="6858000"/>
            <a:chOff x="205" y="1"/>
            <a:chExt cx="406" cy="3836"/>
          </a:xfrm>
        </p:grpSpPr>
        <p:grpSp>
          <p:nvGrpSpPr>
            <p:cNvPr id="11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9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20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1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2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3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4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5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6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12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3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4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5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6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7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pic>
        <p:nvPicPr>
          <p:cNvPr id="29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12658" y="3645024"/>
            <a:ext cx="1439862" cy="266370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11" dur="2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 additive="repl">
                                        <p:cTn id="12" dur="1000"/>
                                        <p:tgtEl>
                                          <p:spTgt spid="9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1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1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8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9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6" dur="1000"/>
                                        <p:tgtEl>
                                          <p:spTgt spid="9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0" dur="1000"/>
                                        <p:tgtEl>
                                          <p:spTgt spid="9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20" grpId="0"/>
      <p:bldP spid="9223" grpId="0"/>
      <p:bldP spid="922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ru-RU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заимосвязь педагогических и информационных технологий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95536" y="1809774"/>
            <a:ext cx="8605837" cy="4427538"/>
            <a:chOff x="340" y="1207"/>
            <a:chExt cx="5284" cy="2721"/>
          </a:xfrm>
        </p:grpSpPr>
        <p:sp>
          <p:nvSpPr>
            <p:cNvPr id="15364" name="AutoShape 4"/>
            <p:cNvSpPr>
              <a:spLocks noChangeArrowheads="1"/>
            </p:cNvSpPr>
            <p:nvPr/>
          </p:nvSpPr>
          <p:spPr bwMode="auto">
            <a:xfrm>
              <a:off x="1919" y="2155"/>
              <a:ext cx="2099" cy="824"/>
            </a:xfrm>
            <a:prstGeom prst="roundRect">
              <a:avLst>
                <a:gd name="adj" fmla="val 16667"/>
              </a:avLst>
            </a:prstGeom>
            <a:solidFill>
              <a:schemeClr val="accent4">
                <a:lumMod val="40000"/>
                <a:lumOff val="60000"/>
              </a:schemeClr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2200" b="1" dirty="0" smtClean="0">
                  <a:solidFill>
                    <a:schemeClr val="tx2"/>
                  </a:solidFill>
                </a:rPr>
                <a:t> </a:t>
              </a:r>
              <a:r>
                <a:rPr lang="ru-RU" sz="3200" b="1" dirty="0" smtClean="0">
                  <a:solidFill>
                    <a:schemeClr val="tx2"/>
                  </a:solidFill>
                </a:rPr>
                <a:t>икт - </a:t>
              </a:r>
              <a:endParaRPr lang="ru-RU" sz="2200" b="1" dirty="0">
                <a:solidFill>
                  <a:schemeClr val="tx2"/>
                </a:solidFill>
              </a:endParaRPr>
            </a:p>
            <a:p>
              <a:pPr algn="ctr"/>
              <a:r>
                <a:rPr lang="ru-RU" sz="2200" b="1" dirty="0">
                  <a:solidFill>
                    <a:schemeClr val="tx2"/>
                  </a:solidFill>
                </a:rPr>
                <a:t>ТЕХНОЛОГИИ</a:t>
              </a:r>
            </a:p>
          </p:txBody>
        </p:sp>
        <p:sp>
          <p:nvSpPr>
            <p:cNvPr id="15365" name="Rectangle 5"/>
            <p:cNvSpPr>
              <a:spLocks noChangeArrowheads="1"/>
            </p:cNvSpPr>
            <p:nvPr/>
          </p:nvSpPr>
          <p:spPr bwMode="auto">
            <a:xfrm>
              <a:off x="519" y="1207"/>
              <a:ext cx="2056" cy="53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algn="ctr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2200" b="1" dirty="0">
                  <a:solidFill>
                    <a:schemeClr val="tx2"/>
                  </a:solidFill>
                </a:rPr>
                <a:t>Технология</a:t>
              </a:r>
              <a:br>
                <a:rPr lang="ru-RU" sz="2200" b="1" dirty="0">
                  <a:solidFill>
                    <a:schemeClr val="tx2"/>
                  </a:solidFill>
                </a:rPr>
              </a:br>
              <a:r>
                <a:rPr lang="ru-RU" sz="2200" b="1" dirty="0">
                  <a:solidFill>
                    <a:schemeClr val="tx2"/>
                  </a:solidFill>
                </a:rPr>
                <a:t>модульного обучения</a:t>
              </a:r>
            </a:p>
          </p:txBody>
        </p:sp>
        <p:sp>
          <p:nvSpPr>
            <p:cNvPr id="15366" name="Rectangle 6"/>
            <p:cNvSpPr>
              <a:spLocks noChangeArrowheads="1"/>
            </p:cNvSpPr>
            <p:nvPr/>
          </p:nvSpPr>
          <p:spPr bwMode="auto">
            <a:xfrm>
              <a:off x="3318" y="1207"/>
              <a:ext cx="2056" cy="53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algn="ctr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2200" b="1" dirty="0">
                  <a:solidFill>
                    <a:schemeClr val="tx2"/>
                  </a:solidFill>
                </a:rPr>
                <a:t>Проектный метод</a:t>
              </a:r>
            </a:p>
          </p:txBody>
        </p:sp>
        <p:sp>
          <p:nvSpPr>
            <p:cNvPr id="15367" name="Rectangle 7"/>
            <p:cNvSpPr>
              <a:spLocks noChangeArrowheads="1"/>
            </p:cNvSpPr>
            <p:nvPr/>
          </p:nvSpPr>
          <p:spPr bwMode="auto">
            <a:xfrm>
              <a:off x="476" y="3392"/>
              <a:ext cx="2253" cy="53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algn="ctr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2200" b="1" dirty="0">
                  <a:solidFill>
                    <a:schemeClr val="tx2"/>
                  </a:solidFill>
                </a:rPr>
                <a:t>Технология развития </a:t>
              </a:r>
              <a:br>
                <a:rPr lang="ru-RU" sz="2200" b="1" dirty="0">
                  <a:solidFill>
                    <a:schemeClr val="tx2"/>
                  </a:solidFill>
                </a:rPr>
              </a:br>
              <a:r>
                <a:rPr lang="ru-RU" sz="2200" b="1" dirty="0">
                  <a:solidFill>
                    <a:schemeClr val="tx2"/>
                  </a:solidFill>
                </a:rPr>
                <a:t>критического мышления</a:t>
              </a:r>
            </a:p>
          </p:txBody>
        </p:sp>
        <p:sp>
          <p:nvSpPr>
            <p:cNvPr id="15368" name="Rectangle 8"/>
            <p:cNvSpPr>
              <a:spLocks noChangeArrowheads="1"/>
            </p:cNvSpPr>
            <p:nvPr/>
          </p:nvSpPr>
          <p:spPr bwMode="auto">
            <a:xfrm>
              <a:off x="3232" y="3392"/>
              <a:ext cx="2055" cy="53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algn="ctr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2200" b="1" dirty="0" smtClean="0">
                  <a:solidFill>
                    <a:schemeClr val="tx2"/>
                  </a:solidFill>
                </a:rPr>
                <a:t> Системно-деятельностный</a:t>
              </a:r>
            </a:p>
            <a:p>
              <a:pPr algn="ctr"/>
              <a:r>
                <a:rPr lang="ru-RU" sz="2200" b="1" dirty="0" smtClean="0">
                  <a:solidFill>
                    <a:schemeClr val="tx2"/>
                  </a:solidFill>
                </a:rPr>
                <a:t> подход</a:t>
              </a:r>
              <a:endParaRPr lang="ru-RU" sz="2200" b="1" dirty="0">
                <a:solidFill>
                  <a:schemeClr val="tx2"/>
                </a:solidFill>
              </a:endParaRPr>
            </a:p>
          </p:txBody>
        </p:sp>
        <p:sp>
          <p:nvSpPr>
            <p:cNvPr id="15369" name="Line 9"/>
            <p:cNvSpPr>
              <a:spLocks noChangeShapeType="1"/>
            </p:cNvSpPr>
            <p:nvPr/>
          </p:nvSpPr>
          <p:spPr bwMode="auto">
            <a:xfrm flipH="1" flipV="1">
              <a:off x="1788" y="1743"/>
              <a:ext cx="875" cy="412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70" name="Line 10"/>
            <p:cNvSpPr>
              <a:spLocks noChangeShapeType="1"/>
            </p:cNvSpPr>
            <p:nvPr/>
          </p:nvSpPr>
          <p:spPr bwMode="auto">
            <a:xfrm>
              <a:off x="2138" y="1743"/>
              <a:ext cx="787" cy="412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71" name="Line 11"/>
            <p:cNvSpPr>
              <a:spLocks noChangeShapeType="1"/>
            </p:cNvSpPr>
            <p:nvPr/>
          </p:nvSpPr>
          <p:spPr bwMode="auto">
            <a:xfrm flipV="1">
              <a:off x="3100" y="1743"/>
              <a:ext cx="831" cy="412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72" name="Line 12"/>
            <p:cNvSpPr>
              <a:spLocks noChangeShapeType="1"/>
            </p:cNvSpPr>
            <p:nvPr/>
          </p:nvSpPr>
          <p:spPr bwMode="auto">
            <a:xfrm flipH="1">
              <a:off x="3363" y="1743"/>
              <a:ext cx="830" cy="412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73" name="Line 13"/>
            <p:cNvSpPr>
              <a:spLocks noChangeShapeType="1"/>
            </p:cNvSpPr>
            <p:nvPr/>
          </p:nvSpPr>
          <p:spPr bwMode="auto">
            <a:xfrm flipV="1">
              <a:off x="1568" y="2979"/>
              <a:ext cx="832" cy="412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74" name="Line 14"/>
            <p:cNvSpPr>
              <a:spLocks noChangeShapeType="1"/>
            </p:cNvSpPr>
            <p:nvPr/>
          </p:nvSpPr>
          <p:spPr bwMode="auto">
            <a:xfrm flipH="1">
              <a:off x="1832" y="2979"/>
              <a:ext cx="830" cy="412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75" name="Line 15"/>
            <p:cNvSpPr>
              <a:spLocks noChangeShapeType="1"/>
            </p:cNvSpPr>
            <p:nvPr/>
          </p:nvSpPr>
          <p:spPr bwMode="auto">
            <a:xfrm flipH="1" flipV="1">
              <a:off x="2882" y="2979"/>
              <a:ext cx="874" cy="412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76" name="Line 16"/>
            <p:cNvSpPr>
              <a:spLocks noChangeShapeType="1"/>
            </p:cNvSpPr>
            <p:nvPr/>
          </p:nvSpPr>
          <p:spPr bwMode="auto">
            <a:xfrm>
              <a:off x="3232" y="2979"/>
              <a:ext cx="786" cy="412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77" name="Rectangle 17"/>
            <p:cNvSpPr>
              <a:spLocks noChangeArrowheads="1"/>
            </p:cNvSpPr>
            <p:nvPr/>
          </p:nvSpPr>
          <p:spPr bwMode="auto">
            <a:xfrm>
              <a:off x="4263" y="2296"/>
              <a:ext cx="1361" cy="53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algn="ctr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2200" b="1" dirty="0">
                  <a:solidFill>
                    <a:schemeClr val="tx2"/>
                  </a:solidFill>
                </a:rPr>
                <a:t>Обучение в </a:t>
              </a:r>
            </a:p>
            <a:p>
              <a:pPr algn="ctr"/>
              <a:r>
                <a:rPr lang="ru-RU" sz="2200" b="1" dirty="0">
                  <a:solidFill>
                    <a:schemeClr val="tx2"/>
                  </a:solidFill>
                </a:rPr>
                <a:t>сотрудничестве</a:t>
              </a:r>
            </a:p>
          </p:txBody>
        </p:sp>
        <p:sp>
          <p:nvSpPr>
            <p:cNvPr id="15378" name="Rectangle 18"/>
            <p:cNvSpPr>
              <a:spLocks noChangeArrowheads="1"/>
            </p:cNvSpPr>
            <p:nvPr/>
          </p:nvSpPr>
          <p:spPr bwMode="auto">
            <a:xfrm>
              <a:off x="340" y="2273"/>
              <a:ext cx="1339" cy="53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9525" algn="ctr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sz="2200" b="1" dirty="0">
                  <a:solidFill>
                    <a:schemeClr val="tx2"/>
                  </a:solidFill>
                </a:rPr>
                <a:t>Портфолио</a:t>
              </a:r>
            </a:p>
            <a:p>
              <a:pPr algn="ctr"/>
              <a:r>
                <a:rPr lang="ru-RU" sz="2200" b="1" dirty="0">
                  <a:solidFill>
                    <a:schemeClr val="tx2"/>
                  </a:solidFill>
                </a:rPr>
                <a:t>ученика</a:t>
              </a:r>
            </a:p>
          </p:txBody>
        </p:sp>
        <p:sp>
          <p:nvSpPr>
            <p:cNvPr id="15379" name="Line 19"/>
            <p:cNvSpPr>
              <a:spLocks noChangeShapeType="1"/>
            </p:cNvSpPr>
            <p:nvPr/>
          </p:nvSpPr>
          <p:spPr bwMode="auto">
            <a:xfrm flipH="1" flipV="1">
              <a:off x="1678" y="2614"/>
              <a:ext cx="249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80" name="Line 20"/>
            <p:cNvSpPr>
              <a:spLocks noChangeShapeType="1"/>
            </p:cNvSpPr>
            <p:nvPr/>
          </p:nvSpPr>
          <p:spPr bwMode="auto">
            <a:xfrm>
              <a:off x="4014" y="2636"/>
              <a:ext cx="249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81" name="Line 21"/>
            <p:cNvSpPr>
              <a:spLocks noChangeShapeType="1"/>
            </p:cNvSpPr>
            <p:nvPr/>
          </p:nvSpPr>
          <p:spPr bwMode="auto">
            <a:xfrm flipH="1" flipV="1">
              <a:off x="4014" y="2455"/>
              <a:ext cx="249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5382" name="Line 22"/>
            <p:cNvSpPr>
              <a:spLocks noChangeShapeType="1"/>
            </p:cNvSpPr>
            <p:nvPr/>
          </p:nvSpPr>
          <p:spPr bwMode="auto">
            <a:xfrm>
              <a:off x="1678" y="2455"/>
              <a:ext cx="249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 dirty="0"/>
            </a:p>
          </p:txBody>
        </p:sp>
      </p:grpSp>
      <p:grpSp>
        <p:nvGrpSpPr>
          <p:cNvPr id="23" name="Group 29"/>
          <p:cNvGrpSpPr>
            <a:grpSpLocks/>
          </p:cNvGrpSpPr>
          <p:nvPr/>
        </p:nvGrpSpPr>
        <p:grpSpPr bwMode="auto">
          <a:xfrm>
            <a:off x="0" y="0"/>
            <a:ext cx="755576" cy="6858000"/>
            <a:chOff x="205" y="1"/>
            <a:chExt cx="406" cy="3836"/>
          </a:xfrm>
        </p:grpSpPr>
        <p:grpSp>
          <p:nvGrpSpPr>
            <p:cNvPr id="24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32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33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34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35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36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37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38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39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26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27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28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29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30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31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10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4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1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755650" y="836613"/>
            <a:ext cx="7548563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000000">
                <a:alpha val="76000"/>
              </a:srgbClr>
            </a:outerShdw>
          </a:effectLst>
        </p:spPr>
        <p:txBody>
          <a:bodyPr lIns="90000" tIns="46800" rIns="90000" bIns="46800"/>
          <a:lstStyle/>
          <a:p>
            <a:pPr>
              <a:spcBef>
                <a:spcPct val="20000"/>
              </a:spcBef>
            </a:pPr>
            <a:r>
              <a:rPr lang="ru-RU" sz="2800"/>
              <a:t> </a:t>
            </a:r>
            <a:endParaRPr lang="ru-RU" sz="3600" b="1">
              <a:solidFill>
                <a:srgbClr val="B3EAF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3432" name="Rectangle 8"/>
          <p:cNvSpPr>
            <a:spLocks noGrp="1"/>
          </p:cNvSpPr>
          <p:nvPr>
            <p:ph type="body" idx="1"/>
          </p:nvPr>
        </p:nvSpPr>
        <p:spPr>
          <a:xfrm>
            <a:off x="899592" y="1772816"/>
            <a:ext cx="7776864" cy="4752528"/>
          </a:xfrm>
        </p:spPr>
        <p:txBody>
          <a:bodyPr/>
          <a:lstStyle/>
          <a:p>
            <a:pPr>
              <a:lnSpc>
                <a:spcPct val="90000"/>
              </a:lnSpc>
              <a:buFont typeface="Wingdings 2" pitchFamily="18" charset="2"/>
              <a:buNone/>
            </a:pPr>
            <a:r>
              <a:rPr lang="ru-RU" sz="3600" b="1" i="1" dirty="0" smtClean="0">
                <a:solidFill>
                  <a:schemeClr val="hlink"/>
                </a:solidFill>
                <a:latin typeface="Times New Roman" pitchFamily="18" charset="0"/>
              </a:rPr>
              <a:t>  </a:t>
            </a:r>
            <a:r>
              <a:rPr lang="ru-RU" sz="3600" b="1" i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ИКТ – технологии - </a:t>
            </a:r>
          </a:p>
          <a:p>
            <a:pPr>
              <a:lnSpc>
                <a:spcPct val="90000"/>
              </a:lnSpc>
              <a:buFont typeface="Wingdings 2" pitchFamily="18" charset="2"/>
              <a:buNone/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      это технологии, </a:t>
            </a:r>
          </a:p>
          <a:p>
            <a:pPr>
              <a:lnSpc>
                <a:spcPct val="90000"/>
              </a:lnSpc>
              <a:buFont typeface="Wingdings 2" pitchFamily="18" charset="2"/>
              <a:buNone/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связанные с телекоммуникацией, </a:t>
            </a:r>
          </a:p>
          <a:p>
            <a:pPr>
              <a:lnSpc>
                <a:spcPct val="90000"/>
              </a:lnSpc>
              <a:buFont typeface="Wingdings 2" pitchFamily="18" charset="2"/>
              <a:buNone/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то есть «общение на расстоянии»</a:t>
            </a:r>
          </a:p>
          <a:p>
            <a:pPr>
              <a:lnSpc>
                <a:spcPct val="90000"/>
              </a:lnSpc>
              <a:buFont typeface="Wingdings 2" pitchFamily="18" charset="2"/>
              <a:buNone/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посредством всемирной сети Интернет </a:t>
            </a:r>
          </a:p>
          <a:p>
            <a:pPr algn="r">
              <a:lnSpc>
                <a:spcPct val="90000"/>
              </a:lnSpc>
              <a:buFont typeface="Wingdings 2" pitchFamily="18" charset="2"/>
              <a:buNone/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с целью получения максимального  </a:t>
            </a:r>
          </a:p>
          <a:p>
            <a:pPr algn="r">
              <a:lnSpc>
                <a:spcPct val="90000"/>
              </a:lnSpc>
              <a:buFont typeface="Wingdings 2" pitchFamily="18" charset="2"/>
              <a:buNone/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объёма информации.     </a:t>
            </a:r>
          </a:p>
          <a:p>
            <a:pPr>
              <a:lnSpc>
                <a:spcPct val="90000"/>
              </a:lnSpc>
              <a:buFont typeface="Wingdings 2" pitchFamily="18" charset="2"/>
              <a:buNone/>
            </a:pPr>
            <a:endParaRPr lang="ru-RU" sz="2800" b="1" dirty="0" smtClean="0">
              <a:latin typeface="Times New Roman" pitchFamily="18" charset="0"/>
            </a:endParaRPr>
          </a:p>
          <a:p>
            <a:pPr algn="r">
              <a:lnSpc>
                <a:spcPct val="90000"/>
              </a:lnSpc>
              <a:buFont typeface="Wingdings 2" pitchFamily="18" charset="2"/>
              <a:buNone/>
            </a:pPr>
            <a:endParaRPr lang="ru-RU" sz="2000" b="1" i="1" dirty="0" smtClean="0">
              <a:latin typeface="Times New Roman" pitchFamily="18" charset="0"/>
            </a:endParaRPr>
          </a:p>
          <a:p>
            <a:pPr algn="r">
              <a:lnSpc>
                <a:spcPct val="90000"/>
              </a:lnSpc>
              <a:buFont typeface="Wingdings 2" pitchFamily="18" charset="2"/>
              <a:buNone/>
            </a:pPr>
            <a:endParaRPr lang="ru-RU" sz="2000" b="1" i="1" dirty="0" smtClean="0">
              <a:latin typeface="Times New Roman" pitchFamily="18" charset="0"/>
            </a:endParaRPr>
          </a:p>
          <a:p>
            <a:pPr algn="r">
              <a:lnSpc>
                <a:spcPct val="90000"/>
              </a:lnSpc>
              <a:buFont typeface="Wingdings 2" pitchFamily="18" charset="2"/>
              <a:buNone/>
            </a:pPr>
            <a:endParaRPr lang="ru-RU" sz="2000" b="1" i="1" dirty="0" smtClean="0">
              <a:latin typeface="Times New Roman" pitchFamily="18" charset="0"/>
            </a:endParaRPr>
          </a:p>
        </p:txBody>
      </p:sp>
      <p:sp>
        <p:nvSpPr>
          <p:cNvPr id="103433" name="Rectangle 9"/>
          <p:cNvSpPr>
            <a:spLocks noGrp="1"/>
          </p:cNvSpPr>
          <p:nvPr>
            <p:ph type="title"/>
          </p:nvPr>
        </p:nvSpPr>
        <p:spPr>
          <a:xfrm>
            <a:off x="971600" y="404664"/>
            <a:ext cx="4392488" cy="1143000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</a:rPr>
              <a:t>ЧТО ТАКОЕ  ИКТ ?</a:t>
            </a:r>
          </a:p>
        </p:txBody>
      </p:sp>
      <p:grpSp>
        <p:nvGrpSpPr>
          <p:cNvPr id="12" name="Group 29"/>
          <p:cNvGrpSpPr>
            <a:grpSpLocks/>
          </p:cNvGrpSpPr>
          <p:nvPr/>
        </p:nvGrpSpPr>
        <p:grpSpPr bwMode="auto">
          <a:xfrm>
            <a:off x="108520" y="0"/>
            <a:ext cx="791072" cy="6858000"/>
            <a:chOff x="205" y="1"/>
            <a:chExt cx="406" cy="3836"/>
          </a:xfrm>
        </p:grpSpPr>
        <p:grpSp>
          <p:nvGrpSpPr>
            <p:cNvPr id="1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21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22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3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5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6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7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8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14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5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6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7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8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9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20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pic>
        <p:nvPicPr>
          <p:cNvPr id="1027" name="Picture 3" descr="C:\Users\МИГ\Desktop\Шаблон\загруженное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08104" y="367680"/>
            <a:ext cx="3168352" cy="2413248"/>
          </a:xfrm>
          <a:prstGeom prst="rect">
            <a:avLst/>
          </a:prstGeom>
          <a:ln>
            <a:noFill/>
          </a:ln>
          <a:effectLst>
            <a:glow rad="228600">
              <a:schemeClr val="accent4">
                <a:satMod val="175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4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" dur="1" fill="hold"/>
                                        <p:tgtEl>
                                          <p:spTgt spid="10343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1000"/>
                                        <p:tgtEl>
                                          <p:spTgt spid="1034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1000"/>
                                        <p:tgtEl>
                                          <p:spTgt spid="1034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1000"/>
                                        <p:tgtEl>
                                          <p:spTgt spid="1034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0"/>
                            </p:stCondLst>
                            <p:childTnLst>
                              <p:par>
                                <p:cTn id="3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1000"/>
                                        <p:tgtEl>
                                          <p:spTgt spid="1034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000"/>
                            </p:stCondLst>
                            <p:childTnLst>
                              <p:par>
                                <p:cTn id="3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1000"/>
                                        <p:tgtEl>
                                          <p:spTgt spid="1034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7000"/>
                            </p:stCondLst>
                            <p:childTnLst>
                              <p:par>
                                <p:cTn id="4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1000"/>
                                        <p:tgtEl>
                                          <p:spTgt spid="1034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8000"/>
                            </p:stCondLst>
                            <p:childTnLst>
                              <p:par>
                                <p:cTn id="4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1000"/>
                                        <p:tgtEl>
                                          <p:spTgt spid="10343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43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5" name="AutoShape 7"/>
          <p:cNvSpPr>
            <a:spLocks noChangeArrowheads="1"/>
          </p:cNvSpPr>
          <p:nvPr/>
        </p:nvSpPr>
        <p:spPr bwMode="auto">
          <a:xfrm>
            <a:off x="755576" y="1"/>
            <a:ext cx="8064574" cy="6858000"/>
          </a:xfrm>
          <a:prstGeom prst="wave">
            <a:avLst>
              <a:gd name="adj1" fmla="val 6284"/>
              <a:gd name="adj2" fmla="val 247"/>
            </a:avLst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3200" b="1" dirty="0" smtClean="0">
                <a:solidFill>
                  <a:srgbClr val="000000"/>
                </a:solidFill>
                <a:latin typeface="Comic Sans MS" pitchFamily="66" charset="0"/>
              </a:rPr>
              <a:t> ИКТ технологии – это  </a:t>
            </a:r>
            <a:r>
              <a:rPr lang="ru-RU" sz="3200" b="1" dirty="0">
                <a:solidFill>
                  <a:srgbClr val="000000"/>
                </a:solidFill>
                <a:latin typeface="Comic Sans MS" pitchFamily="66" charset="0"/>
              </a:rPr>
              <a:t>совокупность методов и технических средств сбора, </a:t>
            </a:r>
            <a:r>
              <a:rPr lang="ru-RU" sz="3200" b="1" dirty="0" smtClean="0">
                <a:solidFill>
                  <a:srgbClr val="000000"/>
                </a:solidFill>
                <a:latin typeface="Comic Sans MS" pitchFamily="66" charset="0"/>
              </a:rPr>
              <a:t>хранения</a:t>
            </a:r>
            <a:r>
              <a:rPr lang="ru-RU" sz="3200" b="1" dirty="0">
                <a:solidFill>
                  <a:srgbClr val="000000"/>
                </a:solidFill>
                <a:latin typeface="Comic Sans MS" pitchFamily="66" charset="0"/>
              </a:rPr>
              <a:t>, </a:t>
            </a:r>
            <a:r>
              <a:rPr lang="ru-RU" sz="3200" b="1" dirty="0" smtClean="0">
                <a:solidFill>
                  <a:srgbClr val="000000"/>
                </a:solidFill>
                <a:latin typeface="Comic Sans MS" pitchFamily="66" charset="0"/>
              </a:rPr>
              <a:t>обработки и передачи  информации</a:t>
            </a:r>
            <a:r>
              <a:rPr lang="ru-RU" sz="3200" b="1" dirty="0">
                <a:solidFill>
                  <a:srgbClr val="000000"/>
                </a:solidFill>
                <a:latin typeface="Comic Sans MS" pitchFamily="66" charset="0"/>
              </a:rPr>
              <a:t>, расширяющей знания </a:t>
            </a:r>
            <a:r>
              <a:rPr lang="ru-RU" sz="3200" b="1" dirty="0" smtClean="0">
                <a:solidFill>
                  <a:srgbClr val="000000"/>
                </a:solidFill>
                <a:latin typeface="Comic Sans MS" pitchFamily="66" charset="0"/>
              </a:rPr>
              <a:t> учащихся </a:t>
            </a:r>
            <a:r>
              <a:rPr lang="ru-RU" sz="3200" b="1" dirty="0">
                <a:solidFill>
                  <a:srgbClr val="000000"/>
                </a:solidFill>
                <a:latin typeface="Comic Sans MS" pitchFamily="66" charset="0"/>
              </a:rPr>
              <a:t>и развивающих их возможности </a:t>
            </a:r>
            <a:endParaRPr lang="ru-RU" sz="3200" b="1" dirty="0" smtClean="0">
              <a:solidFill>
                <a:srgbClr val="000000"/>
              </a:solidFill>
              <a:latin typeface="Comic Sans MS" pitchFamily="66" charset="0"/>
            </a:endParaRPr>
          </a:p>
          <a:p>
            <a:pPr algn="ctr"/>
            <a:r>
              <a:rPr lang="ru-RU" sz="3200" b="1" dirty="0" smtClean="0">
                <a:solidFill>
                  <a:srgbClr val="000000"/>
                </a:solidFill>
                <a:latin typeface="Comic Sans MS" pitchFamily="66" charset="0"/>
              </a:rPr>
              <a:t>по </a:t>
            </a:r>
            <a:r>
              <a:rPr lang="ru-RU" sz="3200" b="1" dirty="0">
                <a:solidFill>
                  <a:srgbClr val="000000"/>
                </a:solidFill>
                <a:latin typeface="Comic Sans MS" pitchFamily="66" charset="0"/>
              </a:rPr>
              <a:t>управлению техническими и социальными </a:t>
            </a:r>
            <a:r>
              <a:rPr lang="ru-RU" sz="3200" b="1" dirty="0" smtClean="0">
                <a:solidFill>
                  <a:srgbClr val="000000"/>
                </a:solidFill>
                <a:latin typeface="Comic Sans MS" pitchFamily="66" charset="0"/>
              </a:rPr>
              <a:t>процессами в настоящем, а, значит, </a:t>
            </a:r>
          </a:p>
          <a:p>
            <a:pPr algn="ctr"/>
            <a:r>
              <a:rPr lang="ru-RU" sz="4400" b="1" i="1" dirty="0" smtClean="0">
                <a:solidFill>
                  <a:srgbClr val="000000"/>
                </a:solidFill>
                <a:latin typeface="Comic Sans MS" pitchFamily="66" charset="0"/>
              </a:rPr>
              <a:t>и в будущем… </a:t>
            </a:r>
            <a:endParaRPr lang="ru-RU" sz="3200" b="1" i="1" dirty="0">
              <a:solidFill>
                <a:srgbClr val="000000"/>
              </a:solidFill>
              <a:latin typeface="Comic Sans MS" pitchFamily="66" charset="0"/>
            </a:endParaRPr>
          </a:p>
        </p:txBody>
      </p:sp>
      <p:grpSp>
        <p:nvGrpSpPr>
          <p:cNvPr id="3" name="Group 29"/>
          <p:cNvGrpSpPr>
            <a:grpSpLocks/>
          </p:cNvGrpSpPr>
          <p:nvPr/>
        </p:nvGrpSpPr>
        <p:grpSpPr bwMode="auto">
          <a:xfrm>
            <a:off x="36512" y="0"/>
            <a:ext cx="791072" cy="6858000"/>
            <a:chOff x="205" y="1"/>
            <a:chExt cx="406" cy="3836"/>
          </a:xfrm>
        </p:grpSpPr>
        <p:grpSp>
          <p:nvGrpSpPr>
            <p:cNvPr id="4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2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3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4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5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6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7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30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30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5" dur="1000"/>
                                        <p:tgtEl>
                                          <p:spTgt spid="430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0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title"/>
          </p:nvPr>
        </p:nvSpPr>
        <p:spPr>
          <a:xfrm>
            <a:off x="931863" y="96838"/>
            <a:ext cx="7158037" cy="884237"/>
          </a:xfrm>
        </p:spPr>
        <p:txBody>
          <a:bodyPr/>
          <a:lstStyle/>
          <a:p>
            <a:pPr algn="ctr"/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Классификация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endParaRPr lang="ru-RU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8638" name="Oval 30"/>
          <p:cNvSpPr>
            <a:spLocks noChangeArrowheads="1"/>
          </p:cNvSpPr>
          <p:nvPr/>
        </p:nvSpPr>
        <p:spPr bwMode="auto">
          <a:xfrm>
            <a:off x="3635375" y="2997200"/>
            <a:ext cx="1800225" cy="1727200"/>
          </a:xfrm>
          <a:prstGeom prst="ellipse">
            <a:avLst/>
          </a:prstGeom>
          <a:solidFill>
            <a:srgbClr val="FFFF66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3600" b="1" dirty="0">
                <a:solidFill>
                  <a:srgbClr val="000066"/>
                </a:solidFill>
                <a:latin typeface="Comic Sans MS" pitchFamily="66" charset="0"/>
              </a:rPr>
              <a:t>ИКТ</a:t>
            </a:r>
          </a:p>
        </p:txBody>
      </p:sp>
      <p:sp>
        <p:nvSpPr>
          <p:cNvPr id="68639" name="Oval 31"/>
          <p:cNvSpPr>
            <a:spLocks noChangeArrowheads="1"/>
          </p:cNvSpPr>
          <p:nvPr/>
        </p:nvSpPr>
        <p:spPr bwMode="auto">
          <a:xfrm>
            <a:off x="4859338" y="1268413"/>
            <a:ext cx="3097212" cy="1728787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000" b="1" dirty="0">
                <a:solidFill>
                  <a:srgbClr val="000066"/>
                </a:solidFill>
              </a:rPr>
              <a:t>Технологии работы с текстовой информацией</a:t>
            </a:r>
          </a:p>
        </p:txBody>
      </p:sp>
      <p:sp>
        <p:nvSpPr>
          <p:cNvPr id="68641" name="Oval 33"/>
          <p:cNvSpPr>
            <a:spLocks noChangeArrowheads="1"/>
          </p:cNvSpPr>
          <p:nvPr/>
        </p:nvSpPr>
        <p:spPr bwMode="auto">
          <a:xfrm>
            <a:off x="5867401" y="3068960"/>
            <a:ext cx="2809056" cy="172846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000" b="1" dirty="0">
                <a:solidFill>
                  <a:srgbClr val="000066"/>
                </a:solidFill>
              </a:rPr>
              <a:t>Технологии хранения, поиска и сортировки информации</a:t>
            </a:r>
          </a:p>
        </p:txBody>
      </p:sp>
      <p:sp>
        <p:nvSpPr>
          <p:cNvPr id="68642" name="Oval 34"/>
          <p:cNvSpPr>
            <a:spLocks noChangeArrowheads="1"/>
          </p:cNvSpPr>
          <p:nvPr/>
        </p:nvSpPr>
        <p:spPr bwMode="auto">
          <a:xfrm>
            <a:off x="4932363" y="4797425"/>
            <a:ext cx="3097212" cy="1728788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ru-RU" sz="2000" b="1" dirty="0">
                <a:solidFill>
                  <a:srgbClr val="000066"/>
                </a:solidFill>
              </a:rPr>
              <a:t>Мультимедиа</a:t>
            </a:r>
          </a:p>
          <a:p>
            <a:pPr algn="ctr"/>
            <a:r>
              <a:rPr lang="ru-RU" sz="2000" b="1" dirty="0">
                <a:solidFill>
                  <a:srgbClr val="000066"/>
                </a:solidFill>
              </a:rPr>
              <a:t>технологии</a:t>
            </a:r>
          </a:p>
        </p:txBody>
      </p:sp>
      <p:sp>
        <p:nvSpPr>
          <p:cNvPr id="68643" name="Oval 35"/>
          <p:cNvSpPr>
            <a:spLocks noChangeArrowheads="1"/>
          </p:cNvSpPr>
          <p:nvPr/>
        </p:nvSpPr>
        <p:spPr bwMode="auto">
          <a:xfrm>
            <a:off x="1331913" y="1196975"/>
            <a:ext cx="3097212" cy="172878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000" b="1" dirty="0">
                <a:solidFill>
                  <a:srgbClr val="000066"/>
                </a:solidFill>
              </a:rPr>
              <a:t>Технологии работы с графической информацией</a:t>
            </a:r>
          </a:p>
        </p:txBody>
      </p:sp>
      <p:sp>
        <p:nvSpPr>
          <p:cNvPr id="68644" name="Oval 36"/>
          <p:cNvSpPr>
            <a:spLocks noChangeArrowheads="1"/>
          </p:cNvSpPr>
          <p:nvPr/>
        </p:nvSpPr>
        <p:spPr bwMode="auto">
          <a:xfrm>
            <a:off x="790203" y="2997200"/>
            <a:ext cx="2557661" cy="1655936"/>
          </a:xfrm>
          <a:prstGeom prst="ellipse">
            <a:avLst/>
          </a:prstGeom>
          <a:gradFill rotWithShape="0">
            <a:gsLst>
              <a:gs pos="0">
                <a:srgbClr val="FF3300"/>
              </a:gs>
              <a:gs pos="100000">
                <a:srgbClr val="FFFF66"/>
              </a:gs>
            </a:gsLst>
            <a:lin ang="5400000" scaled="1"/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000" b="1" dirty="0">
                <a:solidFill>
                  <a:srgbClr val="000066"/>
                </a:solidFill>
              </a:rPr>
              <a:t>Технологии числовых расчетов</a:t>
            </a:r>
          </a:p>
        </p:txBody>
      </p:sp>
      <p:sp>
        <p:nvSpPr>
          <p:cNvPr id="68645" name="Oval 37"/>
          <p:cNvSpPr>
            <a:spLocks noChangeArrowheads="1"/>
          </p:cNvSpPr>
          <p:nvPr/>
        </p:nvSpPr>
        <p:spPr bwMode="auto">
          <a:xfrm>
            <a:off x="1258888" y="4868863"/>
            <a:ext cx="3241104" cy="1728787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000" b="1" dirty="0" smtClean="0">
                <a:solidFill>
                  <a:srgbClr val="000066"/>
                </a:solidFill>
              </a:rPr>
              <a:t>Сетевые  </a:t>
            </a:r>
          </a:p>
          <a:p>
            <a:pPr algn="ctr"/>
            <a:r>
              <a:rPr lang="ru-RU" sz="2000" b="1" dirty="0" smtClean="0">
                <a:solidFill>
                  <a:srgbClr val="000066"/>
                </a:solidFill>
              </a:rPr>
              <a:t>интернет -   </a:t>
            </a:r>
          </a:p>
          <a:p>
            <a:pPr algn="ctr"/>
            <a:r>
              <a:rPr lang="ru-RU" sz="2000" b="1" dirty="0" smtClean="0">
                <a:solidFill>
                  <a:srgbClr val="000066"/>
                </a:solidFill>
              </a:rPr>
              <a:t> сервисы</a:t>
            </a:r>
            <a:endParaRPr lang="ru-RU" sz="2000" b="1" dirty="0">
              <a:solidFill>
                <a:srgbClr val="000066"/>
              </a:solidFill>
            </a:endParaRPr>
          </a:p>
        </p:txBody>
      </p:sp>
      <p:grpSp>
        <p:nvGrpSpPr>
          <p:cNvPr id="11" name="Group 29"/>
          <p:cNvGrpSpPr>
            <a:grpSpLocks/>
          </p:cNvGrpSpPr>
          <p:nvPr/>
        </p:nvGrpSpPr>
        <p:grpSpPr bwMode="auto">
          <a:xfrm>
            <a:off x="36512" y="0"/>
            <a:ext cx="791072" cy="6858000"/>
            <a:chOff x="205" y="1"/>
            <a:chExt cx="406" cy="3836"/>
          </a:xfrm>
        </p:grpSpPr>
        <p:grpSp>
          <p:nvGrpSpPr>
            <p:cNvPr id="12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20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21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2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3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4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5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6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7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13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4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5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6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7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8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2" dur="2000"/>
                                        <p:tgtEl>
                                          <p:spTgt spid="68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5" dur="2000"/>
                                        <p:tgtEl>
                                          <p:spTgt spid="686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686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686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000"/>
                            </p:stCondLst>
                            <p:childTnLst>
                              <p:par>
                                <p:cTn id="2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686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000"/>
                            </p:stCondLst>
                            <p:childTnLst>
                              <p:par>
                                <p:cTn id="2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686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0"/>
                            </p:stCondLst>
                            <p:childTnLst>
                              <p:par>
                                <p:cTn id="3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686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000"/>
                            </p:stCondLst>
                            <p:childTnLst>
                              <p:par>
                                <p:cTn id="37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9" dur="2000"/>
                                        <p:tgtEl>
                                          <p:spTgt spid="686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610" grpId="0"/>
      <p:bldP spid="68638" grpId="0" animBg="1"/>
      <p:bldP spid="68639" grpId="0" animBg="1"/>
      <p:bldP spid="68641" grpId="0" animBg="1"/>
      <p:bldP spid="68642" grpId="0" animBg="1"/>
      <p:bldP spid="68643" grpId="0" animBg="1"/>
      <p:bldP spid="68644" grpId="0" animBg="1"/>
      <p:bldP spid="6864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МИГ\Desktop\ТТ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1003548"/>
            <a:ext cx="7776864" cy="5521796"/>
          </a:xfrm>
          <a:prstGeom prst="rect">
            <a:avLst/>
          </a:prstGeom>
          <a:noFill/>
        </p:spPr>
      </p:pic>
      <p:grpSp>
        <p:nvGrpSpPr>
          <p:cNvPr id="5" name="Group 29"/>
          <p:cNvGrpSpPr>
            <a:grpSpLocks/>
          </p:cNvGrpSpPr>
          <p:nvPr/>
        </p:nvGrpSpPr>
        <p:grpSpPr bwMode="auto">
          <a:xfrm>
            <a:off x="36512" y="0"/>
            <a:ext cx="791072" cy="6858000"/>
            <a:chOff x="205" y="1"/>
            <a:chExt cx="406" cy="3836"/>
          </a:xfrm>
        </p:grpSpPr>
        <p:grpSp>
          <p:nvGrpSpPr>
            <p:cNvPr id="7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5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6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1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2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8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3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4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4" name="Прямоугольник 23"/>
          <p:cNvSpPr/>
          <p:nvPr/>
        </p:nvSpPr>
        <p:spPr>
          <a:xfrm>
            <a:off x="1187624" y="116632"/>
            <a:ext cx="705678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400" b="1" dirty="0" smtClean="0">
                <a:solidFill>
                  <a:schemeClr val="tx2">
                    <a:lumMod val="75000"/>
                  </a:schemeClr>
                </a:solidFill>
              </a:rPr>
              <a:t>  Технологии работы с ТИ</a:t>
            </a:r>
            <a:endParaRPr lang="ru-RU" sz="4400" dirty="0"/>
          </a:p>
        </p:txBody>
      </p:sp>
      <p:pic>
        <p:nvPicPr>
          <p:cNvPr id="2" name="Picture 2" descr="C:\Users\МИГ\Desktop\ЭДневник.bm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71600" y="260648"/>
            <a:ext cx="7704855" cy="6408712"/>
          </a:xfrm>
          <a:prstGeom prst="rect">
            <a:avLst/>
          </a:prstGeom>
          <a:noFill/>
        </p:spPr>
      </p:pic>
      <p:pic>
        <p:nvPicPr>
          <p:cNvPr id="1027" name="Picture 3" descr="C:\Users\МИГ\Desktop\расписание.bmp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5576" y="188640"/>
            <a:ext cx="8064896" cy="6669360"/>
          </a:xfrm>
          <a:prstGeom prst="rect">
            <a:avLst/>
          </a:prstGeom>
          <a:noFill/>
        </p:spPr>
      </p:pic>
      <p:pic>
        <p:nvPicPr>
          <p:cNvPr id="3" name="Picture 2" descr="C:\Users\МИГ\Desktop\Б.bmp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5048" y="0"/>
            <a:ext cx="8568952" cy="685800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4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6" dur="2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1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6" dur="2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31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43608" y="1052736"/>
            <a:ext cx="4959350" cy="374999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55976" y="1700808"/>
            <a:ext cx="4464050" cy="4140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grpSp>
        <p:nvGrpSpPr>
          <p:cNvPr id="6" name="Group 29"/>
          <p:cNvGrpSpPr>
            <a:grpSpLocks/>
          </p:cNvGrpSpPr>
          <p:nvPr/>
        </p:nvGrpSpPr>
        <p:grpSpPr bwMode="auto">
          <a:xfrm>
            <a:off x="36512" y="0"/>
            <a:ext cx="791072" cy="6858000"/>
            <a:chOff x="205" y="1"/>
            <a:chExt cx="406" cy="3836"/>
          </a:xfrm>
        </p:grpSpPr>
        <p:grpSp>
          <p:nvGrpSpPr>
            <p:cNvPr id="7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5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6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1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2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8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3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4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619672" y="188640"/>
            <a:ext cx="607435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4400" b="1" dirty="0" smtClean="0">
                <a:solidFill>
                  <a:schemeClr val="tx2">
                    <a:lumMod val="75000"/>
                  </a:schemeClr>
                </a:solidFill>
              </a:rPr>
              <a:t>Технологии работы с ГИ</a:t>
            </a:r>
            <a:endParaRPr lang="ru-RU" sz="440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4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5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15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15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15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0"/>
            <a:ext cx="7158037" cy="1033041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Технологии числовых расчетов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/>
      </p:sp>
      <p:pic>
        <p:nvPicPr>
          <p:cNvPr id="1026" name="Picture 2" descr="C:\Users\МИГ\Desktop\Табл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560" y="908720"/>
            <a:ext cx="7920880" cy="5688632"/>
          </a:xfrm>
          <a:prstGeom prst="rect">
            <a:avLst/>
          </a:prstGeom>
          <a:noFill/>
        </p:spPr>
      </p:pic>
      <p:grpSp>
        <p:nvGrpSpPr>
          <p:cNvPr id="5" name="Group 29"/>
          <p:cNvGrpSpPr>
            <a:grpSpLocks/>
          </p:cNvGrpSpPr>
          <p:nvPr/>
        </p:nvGrpSpPr>
        <p:grpSpPr bwMode="auto">
          <a:xfrm>
            <a:off x="36512" y="0"/>
            <a:ext cx="791072" cy="6858000"/>
            <a:chOff x="205" y="1"/>
            <a:chExt cx="406" cy="3836"/>
          </a:xfrm>
        </p:grpSpPr>
        <p:grpSp>
          <p:nvGrpSpPr>
            <p:cNvPr id="6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4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5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1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7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3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pic>
        <p:nvPicPr>
          <p:cNvPr id="4" name="Picture 2" descr="C:\Users\МИГ\Desktop\ЭТ.bm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1560" y="0"/>
            <a:ext cx="8208912" cy="685800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4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6" dur="2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108520" y="0"/>
            <a:ext cx="791072" cy="6858000"/>
            <a:chOff x="205" y="1"/>
            <a:chExt cx="406" cy="3836"/>
          </a:xfrm>
        </p:grpSpPr>
        <p:grpSp>
          <p:nvGrpSpPr>
            <p:cNvPr id="5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5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6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1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2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8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3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4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4" name="Прямоугольник 23"/>
          <p:cNvSpPr/>
          <p:nvPr/>
        </p:nvSpPr>
        <p:spPr>
          <a:xfrm>
            <a:off x="1187624" y="116632"/>
            <a:ext cx="705678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>
                <a:solidFill>
                  <a:schemeClr val="tx2">
                    <a:lumMod val="75000"/>
                  </a:schemeClr>
                </a:solidFill>
              </a:rPr>
              <a:t>  Технологии хранения, поиска и сортировки информации</a:t>
            </a:r>
            <a:endParaRPr lang="ru-RU" sz="4400" dirty="0"/>
          </a:p>
        </p:txBody>
      </p:sp>
      <p:pic>
        <p:nvPicPr>
          <p:cNvPr id="6" name="Picture 2" descr="C:\Users\МИГ\Desktop\image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6100" y="1556792"/>
            <a:ext cx="7332324" cy="522920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4" presetClass="entr" presetSubtype="5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vertical)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AutoShape 4"/>
          <p:cNvSpPr>
            <a:spLocks noChangeArrowheads="1"/>
          </p:cNvSpPr>
          <p:nvPr/>
        </p:nvSpPr>
        <p:spPr bwMode="auto">
          <a:xfrm>
            <a:off x="827584" y="0"/>
            <a:ext cx="7632848" cy="2276872"/>
          </a:xfrm>
          <a:prstGeom prst="horizontalScroll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r"/>
            <a:r>
              <a:rPr lang="ru-RU" sz="2000" b="1" dirty="0" smtClean="0">
                <a:solidFill>
                  <a:schemeClr val="accent1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rPr>
              <a:t> </a:t>
            </a:r>
            <a:endParaRPr lang="ru-RU" sz="2000" b="1" dirty="0">
              <a:solidFill>
                <a:schemeClr val="accent1">
                  <a:lumMod val="40000"/>
                  <a:lumOff val="6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itchFamily="34" charset="0"/>
            </a:endParaRPr>
          </a:p>
        </p:txBody>
      </p:sp>
      <p:sp>
        <p:nvSpPr>
          <p:cNvPr id="18444" name="Rectangle 30"/>
          <p:cNvSpPr>
            <a:spLocks noChangeArrowheads="1"/>
          </p:cNvSpPr>
          <p:nvPr/>
        </p:nvSpPr>
        <p:spPr bwMode="auto">
          <a:xfrm>
            <a:off x="-4212976" y="1268760"/>
            <a:ext cx="2808288" cy="462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>
              <a:spcBef>
                <a:spcPct val="50000"/>
              </a:spcBef>
            </a:pPr>
            <a:endParaRPr lang="ru-RU" sz="2400" dirty="0">
              <a:latin typeface="Times New Roman" pitchFamily="18" charset="0"/>
            </a:endParaRPr>
          </a:p>
        </p:txBody>
      </p:sp>
      <p:grpSp>
        <p:nvGrpSpPr>
          <p:cNvPr id="5" name="Group 29"/>
          <p:cNvGrpSpPr>
            <a:grpSpLocks/>
          </p:cNvGrpSpPr>
          <p:nvPr/>
        </p:nvGrpSpPr>
        <p:grpSpPr bwMode="auto">
          <a:xfrm>
            <a:off x="35496" y="0"/>
            <a:ext cx="755575" cy="6858000"/>
            <a:chOff x="205" y="1"/>
            <a:chExt cx="406" cy="3836"/>
          </a:xfrm>
        </p:grpSpPr>
        <p:grpSp>
          <p:nvGrpSpPr>
            <p:cNvPr id="6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58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59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0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4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5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2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3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6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7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32" name="Прямоугольник 31"/>
          <p:cNvSpPr/>
          <p:nvPr/>
        </p:nvSpPr>
        <p:spPr>
          <a:xfrm>
            <a:off x="971600" y="2650964"/>
            <a:ext cx="6984776" cy="3586348"/>
          </a:xfrm>
          <a:prstGeom prst="rect">
            <a:avLst/>
          </a:prstGeom>
        </p:spPr>
        <p:txBody>
          <a:bodyPr>
            <a:prstTxWarp prst="textTriangleInverted">
              <a:avLst>
                <a:gd name="adj" fmla="val 50590"/>
              </a:avLst>
            </a:prstTxWarp>
            <a:spAutoFit/>
          </a:bodyPr>
          <a:lstStyle/>
          <a:p>
            <a:pPr>
              <a:defRPr/>
            </a:pPr>
            <a:r>
              <a:rPr lang="ru-RU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     </a:t>
            </a:r>
            <a:r>
              <a:rPr lang="en-US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Web </a:t>
            </a:r>
            <a:r>
              <a:rPr lang="ru-RU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 </a:t>
            </a:r>
            <a:r>
              <a:rPr lang="en-US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– </a:t>
            </a:r>
            <a:r>
              <a:rPr lang="ru-RU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живи,</a:t>
            </a:r>
          </a:p>
          <a:p>
            <a:pPr>
              <a:defRPr/>
            </a:pPr>
            <a:r>
              <a:rPr lang="ru-RU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    </a:t>
            </a:r>
            <a:r>
              <a:rPr lang="en-US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Web </a:t>
            </a:r>
            <a:r>
              <a:rPr lang="ru-RU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 </a:t>
            </a:r>
            <a:r>
              <a:rPr lang="en-US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 – </a:t>
            </a:r>
            <a:r>
              <a:rPr lang="ru-RU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учись!</a:t>
            </a: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1043608" y="501253"/>
            <a:ext cx="7344816" cy="1487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8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000" dirty="0" smtClean="0">
                <a:solidFill>
                  <a:schemeClr val="tx2">
                    <a:lumMod val="20000"/>
                    <a:lumOff val="80000"/>
                  </a:schemeClr>
                </a:solidFill>
                <a:latin typeface="Arial Black" pitchFamily="34" charset="0"/>
                <a:cs typeface="Times New Roman" pitchFamily="16" charset="0"/>
              </a:rPr>
              <a:t> </a:t>
            </a:r>
            <a:r>
              <a:rPr lang="ru-RU" sz="2800" i="1" dirty="0" smtClean="0">
                <a:solidFill>
                  <a:schemeClr val="tx2">
                    <a:lumMod val="20000"/>
                    <a:lumOff val="80000"/>
                  </a:schemeClr>
                </a:solidFill>
                <a:latin typeface="Arial Black" pitchFamily="34" charset="0"/>
                <a:cs typeface="Times New Roman" pitchFamily="16" charset="0"/>
              </a:rPr>
              <a:t>«Кто владеет информацией, владеет миром»</a:t>
            </a:r>
          </a:p>
          <a:p>
            <a:pPr algn="r">
              <a:spcBef>
                <a:spcPts val="8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800" i="1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Arial Black" pitchFamily="34" charset="0"/>
                <a:cs typeface="Times New Roman" pitchFamily="16" charset="0"/>
              </a:rPr>
              <a:t>Билл Гейтс</a:t>
            </a:r>
            <a:endParaRPr lang="ru-RU" sz="2400" i="1" dirty="0">
              <a:solidFill>
                <a:schemeClr val="accent1">
                  <a:lumMod val="40000"/>
                  <a:lumOff val="60000"/>
                </a:schemeClr>
              </a:solidFill>
              <a:latin typeface="Arial Black" pitchFamily="34" charset="0"/>
              <a:cs typeface="Times New Roman" pitchFamily="16" charset="0"/>
            </a:endParaRPr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3" dur="2000"/>
                                        <p:tgtEl>
                                          <p:spTgt spid="184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8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6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000"/>
                            </p:stCondLst>
                            <p:childTnLst>
                              <p:par>
                                <p:cTn id="18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6" grpId="0" animBg="1"/>
      <p:bldP spid="32" grpId="0"/>
      <p:bldP spid="2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ChangeArrowheads="1"/>
          </p:cNvSpPr>
          <p:nvPr/>
        </p:nvSpPr>
        <p:spPr bwMode="auto">
          <a:xfrm>
            <a:off x="683568" y="1474331"/>
            <a:ext cx="5615979" cy="4647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4400" b="1" dirty="0" smtClean="0">
                <a:solidFill>
                  <a:schemeClr val="tx2">
                    <a:lumMod val="75000"/>
                  </a:schemeClr>
                </a:solidFill>
              </a:rPr>
              <a:t> сетевые </a:t>
            </a:r>
            <a:r>
              <a:rPr lang="ru-RU" sz="4400" b="1" dirty="0">
                <a:solidFill>
                  <a:schemeClr val="tx2">
                    <a:lumMod val="75000"/>
                  </a:schemeClr>
                </a:solidFill>
              </a:rPr>
              <a:t>сервисы</a:t>
            </a:r>
            <a:r>
              <a:rPr lang="ru-RU" sz="36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</a:rPr>
              <a:t>– </a:t>
            </a:r>
          </a:p>
          <a:p>
            <a:pPr algn="ctr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</a:rPr>
              <a:t>современные </a:t>
            </a:r>
            <a:r>
              <a:rPr lang="ru-RU" sz="3600" b="1" dirty="0">
                <a:solidFill>
                  <a:schemeClr val="tx2">
                    <a:lumMod val="75000"/>
                  </a:schemeClr>
                </a:solidFill>
              </a:rPr>
              <a:t>средства</a:t>
            </a:r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</a:rPr>
              <a:t>,</a:t>
            </a:r>
          </a:p>
          <a:p>
            <a:pPr algn="ctr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</a:rPr>
              <a:t> в том числе,</a:t>
            </a:r>
          </a:p>
          <a:p>
            <a:pPr algn="ctr"/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</a:rPr>
              <a:t> сетевое </a:t>
            </a:r>
            <a:r>
              <a:rPr lang="ru-RU" sz="3600" b="1" dirty="0">
                <a:solidFill>
                  <a:schemeClr val="tx2">
                    <a:lumMod val="75000"/>
                  </a:schemeClr>
                </a:solidFill>
              </a:rPr>
              <a:t>программное обеспечение, поддерживающее групповые </a:t>
            </a:r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</a:rPr>
              <a:t>взаимодействия.</a:t>
            </a:r>
            <a:endParaRPr lang="ru-RU" sz="3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987" name="Rectangle 3"/>
          <p:cNvSpPr>
            <a:spLocks noChangeArrowheads="1"/>
          </p:cNvSpPr>
          <p:nvPr/>
        </p:nvSpPr>
        <p:spPr bwMode="auto">
          <a:xfrm>
            <a:off x="971550" y="476250"/>
            <a:ext cx="492955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4800" b="1" dirty="0">
                <a:solidFill>
                  <a:schemeClr val="tx2">
                    <a:lumMod val="75000"/>
                  </a:schemeClr>
                </a:solidFill>
              </a:rPr>
              <a:t>Сервисы </a:t>
            </a:r>
            <a:r>
              <a:rPr lang="en-US" sz="4800" b="1" dirty="0">
                <a:solidFill>
                  <a:schemeClr val="tx2">
                    <a:lumMod val="75000"/>
                  </a:schemeClr>
                </a:solidFill>
              </a:rPr>
              <a:t>WEB</a:t>
            </a:r>
            <a:r>
              <a:rPr lang="ru-RU" sz="48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4800" b="1" dirty="0" smtClean="0">
                <a:solidFill>
                  <a:schemeClr val="tx2">
                    <a:lumMod val="75000"/>
                  </a:schemeClr>
                </a:solidFill>
              </a:rPr>
              <a:t>4.0</a:t>
            </a:r>
            <a:r>
              <a:rPr lang="ru-RU" sz="4800" b="1" dirty="0">
                <a:solidFill>
                  <a:schemeClr val="tx2">
                    <a:lumMod val="75000"/>
                  </a:schemeClr>
                </a:solidFill>
              </a:rPr>
              <a:t>.</a:t>
            </a:r>
          </a:p>
        </p:txBody>
      </p:sp>
      <p:pic>
        <p:nvPicPr>
          <p:cNvPr id="2051" name="Picture 3" descr="C:\Users\МИГ\Desktop\Шаблон\images (2)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8144" y="1412776"/>
            <a:ext cx="2760307" cy="4104456"/>
          </a:xfrm>
          <a:prstGeom prst="rect">
            <a:avLst/>
          </a:prstGeom>
          <a:noFill/>
        </p:spPr>
      </p:pic>
      <p:grpSp>
        <p:nvGrpSpPr>
          <p:cNvPr id="7" name="Group 29"/>
          <p:cNvGrpSpPr>
            <a:grpSpLocks/>
          </p:cNvGrpSpPr>
          <p:nvPr/>
        </p:nvGrpSpPr>
        <p:grpSpPr bwMode="auto">
          <a:xfrm>
            <a:off x="36512" y="0"/>
            <a:ext cx="791072" cy="6858000"/>
            <a:chOff x="205" y="1"/>
            <a:chExt cx="406" cy="3836"/>
          </a:xfrm>
        </p:grpSpPr>
        <p:grpSp>
          <p:nvGrpSpPr>
            <p:cNvPr id="8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6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7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1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2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3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9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3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4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5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МИГ\Desktop\Новый точечный рисунок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260648"/>
            <a:ext cx="7560840" cy="6234390"/>
          </a:xfrm>
          <a:prstGeom prst="rect">
            <a:avLst/>
          </a:prstGeom>
          <a:noFill/>
        </p:spPr>
      </p:pic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36512" y="0"/>
            <a:ext cx="791072" cy="6858000"/>
            <a:chOff x="205" y="1"/>
            <a:chExt cx="406" cy="3836"/>
          </a:xfrm>
        </p:grpSpPr>
        <p:grpSp>
          <p:nvGrpSpPr>
            <p:cNvPr id="5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3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4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5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6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7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"/>
          <p:cNvSpPr txBox="1">
            <a:spLocks noChangeArrowheads="1"/>
          </p:cNvSpPr>
          <p:nvPr/>
        </p:nvSpPr>
        <p:spPr bwMode="auto">
          <a:xfrm>
            <a:off x="864294" y="357189"/>
            <a:ext cx="7956178" cy="630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>
              <a:defRPr/>
            </a:pPr>
            <a:endParaRPr lang="ru-RU" sz="3200" b="1" dirty="0">
              <a:latin typeface="Arial" pitchFamily="34" charset="0"/>
            </a:endParaRPr>
          </a:p>
          <a:p>
            <a:pPr marL="342900" indent="-342900">
              <a:buFontTx/>
              <a:buAutoNum type="arabicPeriod"/>
              <a:defRPr/>
            </a:pPr>
            <a:endParaRPr lang="ru-RU" sz="2200" dirty="0" smtClean="0">
              <a:latin typeface="Arial" pitchFamily="34" charset="0"/>
            </a:endParaRPr>
          </a:p>
          <a:p>
            <a:pPr marL="342900" indent="-342900">
              <a:buFontTx/>
              <a:buAutoNum type="arabicPeriod"/>
              <a:defRPr/>
            </a:pPr>
            <a:r>
              <a:rPr lang="ru-RU" sz="3200" b="1" dirty="0" smtClean="0">
                <a:solidFill>
                  <a:schemeClr val="tx2"/>
                </a:solidFill>
                <a:latin typeface="Arial" pitchFamily="34" charset="0"/>
              </a:rPr>
              <a:t>Электронные  ОР.</a:t>
            </a:r>
          </a:p>
          <a:p>
            <a:pPr marL="514350" indent="-514350"/>
            <a:r>
              <a:rPr lang="ru-RU" sz="2800" b="1" dirty="0" smtClean="0"/>
              <a:t>-  Федеральный центр информационно-образовательных ресурсов  </a:t>
            </a:r>
            <a:r>
              <a:rPr lang="ru-RU" sz="2800" b="1" dirty="0" smtClean="0">
                <a:solidFill>
                  <a:srgbClr val="FF3300"/>
                </a:solidFill>
                <a:hlinkClick r:id="rId3"/>
              </a:rPr>
              <a:t>http://eor.edu.ru</a:t>
            </a:r>
            <a:r>
              <a:rPr lang="ru-RU" sz="2800" b="1" dirty="0" smtClean="0"/>
              <a:t>; </a:t>
            </a:r>
          </a:p>
          <a:p>
            <a:pPr marL="342900" indent="-342900"/>
            <a:r>
              <a:rPr lang="ru-RU" sz="2800" b="1" dirty="0" smtClean="0"/>
              <a:t>-  Единая коллекция цифровых образовательных ресурсов  </a:t>
            </a:r>
            <a:r>
              <a:rPr lang="ru-RU" sz="2800" b="1" dirty="0" smtClean="0">
                <a:solidFill>
                  <a:srgbClr val="FF3300"/>
                </a:solidFill>
                <a:hlinkClick r:id="rId4"/>
              </a:rPr>
              <a:t>http://school-collection.edu.ru</a:t>
            </a:r>
            <a:r>
              <a:rPr lang="ru-RU" sz="2800" b="1" dirty="0" smtClean="0"/>
              <a:t>; </a:t>
            </a:r>
          </a:p>
          <a:p>
            <a:pPr marL="342900" indent="-342900"/>
            <a:r>
              <a:rPr lang="ru-RU" sz="2800" b="1" dirty="0" smtClean="0"/>
              <a:t>-  Информационная система "Единое окно доступа к образовательным ресурсам"  </a:t>
            </a:r>
            <a:r>
              <a:rPr lang="ru-RU" sz="2800" b="1" dirty="0" smtClean="0">
                <a:hlinkClick r:id="rId5"/>
              </a:rPr>
              <a:t>http://window.edu.ru</a:t>
            </a:r>
            <a:r>
              <a:rPr lang="ru-RU" sz="2800" b="1" dirty="0" smtClean="0"/>
              <a:t>;</a:t>
            </a:r>
          </a:p>
          <a:p>
            <a:pPr marL="342900" indent="-342900"/>
            <a:r>
              <a:rPr lang="ru-RU" sz="2800" b="1" dirty="0" smtClean="0"/>
              <a:t>- Ресурсы, описания которых находятся на Федеральном портале "Российское образование </a:t>
            </a:r>
            <a:r>
              <a:rPr lang="ru-RU" sz="2800" b="1" dirty="0" smtClean="0">
                <a:hlinkClick r:id="rId6"/>
              </a:rPr>
              <a:t>http://www.edu.ru</a:t>
            </a:r>
            <a:r>
              <a:rPr lang="ru-RU" sz="2800" b="1" dirty="0" smtClean="0"/>
              <a:t>.</a:t>
            </a:r>
          </a:p>
          <a:p>
            <a:pPr marL="342900" indent="-342900">
              <a:buFontTx/>
              <a:buAutoNum type="arabicPeriod"/>
              <a:defRPr/>
            </a:pPr>
            <a:endParaRPr lang="ru-RU" sz="1600" b="1" dirty="0" smtClean="0">
              <a:solidFill>
                <a:schemeClr val="tx2"/>
              </a:solidFill>
              <a:latin typeface="Arial" pitchFamily="34" charset="0"/>
            </a:endParaRPr>
          </a:p>
          <a:p>
            <a:pPr marL="342900" indent="-342900">
              <a:defRPr/>
            </a:pPr>
            <a:endParaRPr lang="ru-RU" sz="2200" dirty="0">
              <a:latin typeface="Arial" pitchFamily="34" charset="0"/>
            </a:endParaRPr>
          </a:p>
        </p:txBody>
      </p:sp>
      <p:sp>
        <p:nvSpPr>
          <p:cNvPr id="45059" name="Rectangle 3"/>
          <p:cNvSpPr>
            <a:spLocks noChangeArrowheads="1"/>
          </p:cNvSpPr>
          <p:nvPr/>
        </p:nvSpPr>
        <p:spPr bwMode="auto">
          <a:xfrm>
            <a:off x="1691680" y="332656"/>
            <a:ext cx="619432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4400" b="1" dirty="0">
                <a:solidFill>
                  <a:schemeClr val="tx2"/>
                </a:solidFill>
              </a:rPr>
              <a:t>Знакомство с сервисами</a:t>
            </a:r>
          </a:p>
        </p:txBody>
      </p:sp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36512" y="0"/>
            <a:ext cx="791072" cy="6858000"/>
            <a:chOff x="205" y="1"/>
            <a:chExt cx="406" cy="3836"/>
          </a:xfrm>
        </p:grpSpPr>
        <p:grpSp>
          <p:nvGrpSpPr>
            <p:cNvPr id="5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3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4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5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6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7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50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1000"/>
                                        <p:tgtEl>
                                          <p:spTgt spid="717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1000"/>
                                        <p:tgtEl>
                                          <p:spTgt spid="717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1000"/>
                                        <p:tgtEl>
                                          <p:spTgt spid="717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0"/>
                            </p:stCondLst>
                            <p:childTnLst>
                              <p:par>
                                <p:cTn id="2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1000"/>
                                        <p:tgtEl>
                                          <p:spTgt spid="717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1000"/>
                                        <p:tgtEl>
                                          <p:spTgt spid="717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ext Box 2"/>
          <p:cNvSpPr txBox="1">
            <a:spLocks noChangeArrowheads="1"/>
          </p:cNvSpPr>
          <p:nvPr/>
        </p:nvSpPr>
        <p:spPr bwMode="auto">
          <a:xfrm>
            <a:off x="2411760" y="1916832"/>
            <a:ext cx="6228184" cy="2923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r>
              <a:rPr lang="ru-RU" sz="2800" b="1" dirty="0" smtClean="0">
                <a:solidFill>
                  <a:srgbClr val="92D050"/>
                </a:solidFill>
              </a:rPr>
              <a:t> </a:t>
            </a:r>
            <a:r>
              <a:rPr lang="ru-RU" sz="3200" b="1" dirty="0" smtClean="0">
                <a:solidFill>
                  <a:schemeClr val="tx2"/>
                </a:solidFill>
              </a:rPr>
              <a:t>5. Сервисы</a:t>
            </a:r>
            <a:r>
              <a:rPr lang="ru-RU" sz="3200" b="1" dirty="0">
                <a:solidFill>
                  <a:schemeClr val="tx2"/>
                </a:solidFill>
              </a:rPr>
              <a:t>, позволяющие организовывать совместную работу с различными типами документов – облачные вычисления - </a:t>
            </a:r>
            <a:r>
              <a:rPr lang="en-US" sz="3200" b="1" dirty="0">
                <a:solidFill>
                  <a:schemeClr val="tx2"/>
                </a:solidFill>
              </a:rPr>
              <a:t>Google.ru</a:t>
            </a:r>
            <a:r>
              <a:rPr lang="ru-RU" sz="3200" b="1" dirty="0">
                <a:solidFill>
                  <a:schemeClr val="tx2"/>
                </a:solidFill>
              </a:rPr>
              <a:t>. </a:t>
            </a:r>
          </a:p>
          <a:p>
            <a:pPr marL="342900" indent="-342900"/>
            <a:endParaRPr lang="ru-RU" sz="2400" dirty="0"/>
          </a:p>
        </p:txBody>
      </p:sp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72008" y="0"/>
            <a:ext cx="971600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2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3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4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5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6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7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pic>
        <p:nvPicPr>
          <p:cNvPr id="20" name="Picture 10" descr="F:\Уроки\ПРЕЗЕНТАЦИИ\Материалы для презентаций\смайлы\компы\i07631rp.gif"/>
          <p:cNvPicPr>
            <a:picLocks noChangeAspect="1" noChangeArrowheads="1" noCrop="1"/>
          </p:cNvPicPr>
          <p:nvPr/>
        </p:nvPicPr>
        <p:blipFill>
          <a:blip r:embed="rId3" cstate="print"/>
          <a:srcRect l="10547" r="10547"/>
          <a:stretch>
            <a:fillRect/>
          </a:stretch>
        </p:blipFill>
        <p:spPr>
          <a:xfrm>
            <a:off x="1547664" y="332656"/>
            <a:ext cx="2000264" cy="2000264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68077" cy="840105"/>
          </a:xfrm>
        </p:spPr>
        <p:txBody>
          <a:bodyPr/>
          <a:lstStyle/>
          <a:p>
            <a:pPr>
              <a:defRPr/>
            </a:pP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</a:rPr>
              <a:t>Google </a:t>
            </a: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</a:rPr>
              <a:t>документы</a:t>
            </a:r>
            <a:endParaRPr lang="ru-RU" sz="3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3" name="Группа 28"/>
          <p:cNvGrpSpPr>
            <a:grpSpLocks/>
          </p:cNvGrpSpPr>
          <p:nvPr/>
        </p:nvGrpSpPr>
        <p:grpSpPr bwMode="auto">
          <a:xfrm>
            <a:off x="1035844" y="1243013"/>
            <a:ext cx="7136606" cy="5014913"/>
            <a:chOff x="6151570" y="4095752"/>
            <a:chExt cx="3071834" cy="2000264"/>
          </a:xfrm>
        </p:grpSpPr>
        <p:sp>
          <p:nvSpPr>
            <p:cNvPr id="4" name="Title 1"/>
            <p:cNvSpPr txBox="1">
              <a:spLocks/>
            </p:cNvSpPr>
            <p:nvPr/>
          </p:nvSpPr>
          <p:spPr>
            <a:xfrm>
              <a:off x="6151570" y="4095752"/>
              <a:ext cx="3071834" cy="2000264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3500000" scaled="1"/>
              <a:tileRect/>
            </a:gradFill>
            <a:ln>
              <a:solidFill>
                <a:schemeClr val="accent1">
                  <a:lumMod val="75000"/>
                </a:schemeClr>
              </a:solidFill>
            </a:ln>
          </p:spPr>
          <p:txBody>
            <a:bodyPr lIns="101599" tIns="50799" rIns="101599" bIns="50799" anchor="b">
              <a:normAutofit/>
            </a:bodyPr>
            <a:lstStyle/>
            <a:p>
              <a:pPr>
                <a:defRPr/>
              </a:pPr>
              <a:endParaRPr lang="ru-RU" sz="3000" b="1" cap="small" dirty="0">
                <a:latin typeface="+mj-lt"/>
                <a:ea typeface="+mj-ea"/>
                <a:cs typeface="+mj-cs"/>
              </a:endParaRPr>
            </a:p>
          </p:txBody>
        </p:sp>
        <p:pic>
          <p:nvPicPr>
            <p:cNvPr id="24593" name="Picture 14" descr="http://denn.ukoloff.com/wp-content/uploads/2011/02/Google-Apps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508760" y="4238628"/>
              <a:ext cx="2357454" cy="1756099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  <a:miter lim="800000"/>
              <a:headEnd/>
              <a:tailEnd/>
            </a:ln>
          </p:spPr>
        </p:pic>
      </p:grpSp>
      <p:sp>
        <p:nvSpPr>
          <p:cNvPr id="7" name="Скругленная прямоугольная выноска 6"/>
          <p:cNvSpPr/>
          <p:nvPr/>
        </p:nvSpPr>
        <p:spPr>
          <a:xfrm>
            <a:off x="755576" y="2400293"/>
            <a:ext cx="1823304" cy="578643"/>
          </a:xfrm>
          <a:prstGeom prst="wedgeRoundRectCallout">
            <a:avLst>
              <a:gd name="adj1" fmla="val 108347"/>
              <a:gd name="adj2" fmla="val 162755"/>
              <a:gd name="adj3" fmla="val 16667"/>
            </a:avLst>
          </a:prstGeom>
          <a:gradFill flip="none" rotWithShape="1">
            <a:gsLst>
              <a:gs pos="0">
                <a:srgbClr val="99FF99">
                  <a:shade val="30000"/>
                  <a:satMod val="115000"/>
                </a:srgbClr>
              </a:gs>
              <a:gs pos="50000">
                <a:srgbClr val="99FF99">
                  <a:shade val="67500"/>
                  <a:satMod val="115000"/>
                </a:srgbClr>
              </a:gs>
              <a:gs pos="100000">
                <a:srgbClr val="99FF99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" tIns="41148" rIns="82296" bIns="41148"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ТАБЛИЦЫ</a:t>
            </a:r>
          </a:p>
        </p:txBody>
      </p:sp>
      <p:sp>
        <p:nvSpPr>
          <p:cNvPr id="8" name="Скругленная прямоугольная выноска 7"/>
          <p:cNvSpPr/>
          <p:nvPr/>
        </p:nvSpPr>
        <p:spPr>
          <a:xfrm>
            <a:off x="971600" y="5164943"/>
            <a:ext cx="1728192" cy="578648"/>
          </a:xfrm>
          <a:prstGeom prst="wedgeRoundRectCallout">
            <a:avLst>
              <a:gd name="adj1" fmla="val 126051"/>
              <a:gd name="adj2" fmla="val -282562"/>
              <a:gd name="adj3" fmla="val 16667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82296" tIns="41148" rIns="82296" bIns="41148"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 </a:t>
            </a:r>
            <a:r>
              <a:rPr lang="ru-RU" sz="2400" b="1" dirty="0" smtClean="0">
                <a:solidFill>
                  <a:schemeClr val="tx1"/>
                </a:solidFill>
              </a:rPr>
              <a:t>календарь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9" name="Скругленная прямоугольная выноска 8"/>
          <p:cNvSpPr/>
          <p:nvPr/>
        </p:nvSpPr>
        <p:spPr>
          <a:xfrm>
            <a:off x="6629414" y="2014528"/>
            <a:ext cx="1864532" cy="578648"/>
          </a:xfrm>
          <a:prstGeom prst="wedgeRoundRectCallout">
            <a:avLst>
              <a:gd name="adj1" fmla="val -108385"/>
              <a:gd name="adj2" fmla="val 237362"/>
              <a:gd name="adj3" fmla="val 16667"/>
            </a:avLst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82296" tIns="41148" rIns="82296" bIns="41148"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РИСУНКИ</a:t>
            </a:r>
          </a:p>
        </p:txBody>
      </p:sp>
      <p:sp>
        <p:nvSpPr>
          <p:cNvPr id="10" name="Скругленная прямоугольная выноска 9"/>
          <p:cNvSpPr/>
          <p:nvPr/>
        </p:nvSpPr>
        <p:spPr>
          <a:xfrm>
            <a:off x="6500826" y="4779178"/>
            <a:ext cx="2057414" cy="578648"/>
          </a:xfrm>
          <a:prstGeom prst="wedgeRoundRectCallout">
            <a:avLst>
              <a:gd name="adj1" fmla="val -100177"/>
              <a:gd name="adj2" fmla="val -224275"/>
              <a:gd name="adj3" fmla="val 16667"/>
            </a:avLst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2296" tIns="41148" rIns="82296" bIns="41148"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ТЕКСТ</a:t>
            </a:r>
          </a:p>
        </p:txBody>
      </p:sp>
      <p:grpSp>
        <p:nvGrpSpPr>
          <p:cNvPr id="11" name="Group 29"/>
          <p:cNvGrpSpPr>
            <a:grpSpLocks/>
          </p:cNvGrpSpPr>
          <p:nvPr/>
        </p:nvGrpSpPr>
        <p:grpSpPr bwMode="auto">
          <a:xfrm>
            <a:off x="36512" y="0"/>
            <a:ext cx="791072" cy="6858000"/>
            <a:chOff x="205" y="1"/>
            <a:chExt cx="406" cy="3836"/>
          </a:xfrm>
        </p:grpSpPr>
        <p:grpSp>
          <p:nvGrpSpPr>
            <p:cNvPr id="12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20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21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2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3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4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5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6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7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13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4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5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6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7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8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686800" cy="1417638"/>
          </a:xfrm>
        </p:spPr>
        <p:txBody>
          <a:bodyPr>
            <a:noAutofit/>
          </a:bodyPr>
          <a:lstStyle/>
          <a:p>
            <a:r>
              <a:rPr lang="en-US" sz="3200" b="1" dirty="0" smtClean="0">
                <a:solidFill>
                  <a:srgbClr val="464646"/>
                </a:solidFill>
                <a:latin typeface="Arial" charset="0"/>
              </a:rPr>
              <a:t>ПОЧЕМУ GOOGLE?</a:t>
            </a:r>
            <a:br>
              <a:rPr lang="en-US" sz="3200" b="1" dirty="0" smtClean="0">
                <a:solidFill>
                  <a:srgbClr val="464646"/>
                </a:solidFill>
                <a:latin typeface="Arial" charset="0"/>
              </a:rPr>
            </a:br>
            <a:r>
              <a:rPr lang="en-US" sz="3200" b="1" dirty="0" smtClean="0">
                <a:solidFill>
                  <a:srgbClr val="2DA2BF"/>
                </a:solidFill>
                <a:latin typeface="Arial" charset="0"/>
              </a:rPr>
              <a:t>sites.google.com </a:t>
            </a:r>
            <a:r>
              <a:rPr lang="en-US" sz="3200" b="1" dirty="0" err="1" smtClean="0">
                <a:solidFill>
                  <a:srgbClr val="2DA2BF"/>
                </a:solidFill>
                <a:latin typeface="Arial" charset="0"/>
              </a:rPr>
              <a:t>позволяет</a:t>
            </a:r>
            <a:r>
              <a:rPr lang="en-US" sz="3200" b="1" dirty="0" smtClean="0">
                <a:solidFill>
                  <a:srgbClr val="2DA2BF"/>
                </a:solidFill>
                <a:latin typeface="Arial" charset="0"/>
              </a:rPr>
              <a:t> </a:t>
            </a:r>
            <a:r>
              <a:rPr lang="en-US" sz="3200" b="1" dirty="0" err="1" smtClean="0">
                <a:solidFill>
                  <a:srgbClr val="2DA2BF"/>
                </a:solidFill>
                <a:latin typeface="Arial" charset="0"/>
              </a:rPr>
              <a:t>интегрировать</a:t>
            </a:r>
            <a:r>
              <a:rPr lang="en-US" sz="3200" b="1" dirty="0" smtClean="0">
                <a:solidFill>
                  <a:srgbClr val="2DA2BF"/>
                </a:solidFill>
                <a:latin typeface="Arial" charset="0"/>
              </a:rPr>
              <a:t> </a:t>
            </a:r>
            <a:r>
              <a:rPr lang="en-US" sz="3200" b="1" dirty="0" err="1" smtClean="0">
                <a:solidFill>
                  <a:srgbClr val="2DA2BF"/>
                </a:solidFill>
                <a:latin typeface="Arial" charset="0"/>
              </a:rPr>
              <a:t>работу</a:t>
            </a:r>
            <a:r>
              <a:rPr lang="en-US" sz="3200" b="1" dirty="0" smtClean="0">
                <a:solidFill>
                  <a:srgbClr val="2DA2BF"/>
                </a:solidFill>
                <a:latin typeface="Arial" charset="0"/>
              </a:rPr>
              <a:t> </a:t>
            </a:r>
            <a:r>
              <a:rPr lang="en-US" sz="3200" b="1" dirty="0" err="1" smtClean="0">
                <a:solidFill>
                  <a:srgbClr val="2DA2BF"/>
                </a:solidFill>
                <a:latin typeface="Arial" charset="0"/>
              </a:rPr>
              <a:t>всех</a:t>
            </a:r>
            <a:r>
              <a:rPr lang="en-US" sz="3200" b="1" dirty="0" smtClean="0">
                <a:solidFill>
                  <a:srgbClr val="2DA2BF"/>
                </a:solidFill>
                <a:latin typeface="Arial" charset="0"/>
              </a:rPr>
              <a:t> </a:t>
            </a:r>
            <a:r>
              <a:rPr lang="en-US" sz="3200" b="1" dirty="0" err="1" smtClean="0">
                <a:solidFill>
                  <a:srgbClr val="2DA2BF"/>
                </a:solidFill>
                <a:latin typeface="Arial" charset="0"/>
              </a:rPr>
              <a:t>сервисов</a:t>
            </a:r>
            <a:endParaRPr lang="ru-RU" sz="3200" dirty="0"/>
          </a:p>
        </p:txBody>
      </p:sp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-36512" y="0"/>
            <a:ext cx="647056" cy="6858000"/>
            <a:chOff x="205" y="1"/>
            <a:chExt cx="406" cy="3836"/>
          </a:xfrm>
        </p:grpSpPr>
        <p:grpSp>
          <p:nvGrpSpPr>
            <p:cNvPr id="5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3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4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5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6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7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pic>
        <p:nvPicPr>
          <p:cNvPr id="23" name="Picture 3" descr="C:\Users\п\Desktop\Безымянный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5563" y="1556792"/>
            <a:ext cx="8112902" cy="5184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" descr="C:\Users\п\Desktop\1.bm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1560" y="1196752"/>
            <a:ext cx="8460432" cy="5661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" descr="C:\Users\п\Desktop\2.bmp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4056" y="764704"/>
            <a:ext cx="8604448" cy="6093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4381" y="1124744"/>
            <a:ext cx="8379619" cy="54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7584" y="908719"/>
            <a:ext cx="8316416" cy="5359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4" dur="3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0"/>
                            </p:stCondLst>
                            <p:childTnLst>
                              <p:par>
                                <p:cTn id="26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0" dur="3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8000"/>
                            </p:stCondLst>
                            <p:childTnLst>
                              <p:par>
                                <p:cTn id="32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9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9000"/>
                            </p:stCondLst>
                            <p:childTnLst>
                              <p:par>
                                <p:cTn id="39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800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108520" y="0"/>
            <a:ext cx="791072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58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59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0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4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5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2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3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6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7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6" name="Заголовок 25"/>
          <p:cNvSpPr>
            <a:spLocks noGrp="1"/>
          </p:cNvSpPr>
          <p:nvPr>
            <p:ph type="ctrTitle"/>
          </p:nvPr>
        </p:nvSpPr>
        <p:spPr>
          <a:xfrm>
            <a:off x="3203848" y="2780928"/>
            <a:ext cx="4536504" cy="1154559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Прыжки в высоту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123728" y="692696"/>
            <a:ext cx="633670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i="1" dirty="0" smtClean="0">
                <a:solidFill>
                  <a:schemeClr val="accent1">
                    <a:lumMod val="75000"/>
                  </a:schemeClr>
                </a:solidFill>
              </a:rPr>
              <a:t>«Всё в наших руках, </a:t>
            </a:r>
            <a:endParaRPr lang="ru-RU" sz="36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algn="r"/>
            <a:r>
              <a:rPr lang="ru-RU" sz="3600" b="1" i="1" dirty="0" smtClean="0">
                <a:solidFill>
                  <a:schemeClr val="accent1">
                    <a:lumMod val="75000"/>
                  </a:schemeClr>
                </a:solidFill>
              </a:rPr>
              <a:t>поэтому нельзя их опускать»</a:t>
            </a:r>
          </a:p>
          <a:p>
            <a:pPr algn="r"/>
            <a:r>
              <a:rPr lang="ru-RU" sz="3600" b="1" i="1" dirty="0" smtClean="0">
                <a:solidFill>
                  <a:srgbClr val="FF0000"/>
                </a:solidFill>
              </a:rPr>
              <a:t>Коко </a:t>
            </a:r>
            <a:r>
              <a:rPr lang="ru-RU" sz="3600" b="1" i="1" dirty="0" err="1" smtClean="0">
                <a:solidFill>
                  <a:srgbClr val="FF0000"/>
                </a:solidFill>
              </a:rPr>
              <a:t>Шанель</a:t>
            </a:r>
            <a:endParaRPr lang="ru-RU" sz="2000" b="1" i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>
            <a:spLocks noGrp="1" noChangeArrowheads="1"/>
          </p:cNvSpPr>
          <p:nvPr>
            <p:ph type="title"/>
          </p:nvPr>
        </p:nvSpPr>
        <p:spPr>
          <a:xfrm>
            <a:off x="1043608" y="274320"/>
            <a:ext cx="7468077" cy="711518"/>
          </a:xfrm>
        </p:spPr>
        <p:txBody>
          <a:bodyPr lIns="0" tIns="0" rIns="0" bIns="0">
            <a:normAutofit fontScale="90000"/>
          </a:bodyPr>
          <a:lstStyle/>
          <a:p>
            <a:pPr>
              <a:lnSpc>
                <a:spcPct val="95000"/>
              </a:lnSpc>
              <a:defRPr/>
            </a:pPr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КАК ЭТОМУ МОЖНО УЧИТЬ?</a:t>
            </a: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760631" y="1178703"/>
            <a:ext cx="4243417" cy="2960299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  <a:buFont typeface="Wingdings" pitchFamily="2" charset="2"/>
              <a:buChar char="ü"/>
              <a:defRPr/>
            </a:pPr>
            <a:r>
              <a:rPr lang="en-US" b="1" dirty="0" err="1">
                <a:solidFill>
                  <a:srgbClr val="000000"/>
                </a:solidFill>
                <a:latin typeface="Arial" charset="0"/>
              </a:rPr>
              <a:t>Деловое</a:t>
            </a:r>
            <a:r>
              <a:rPr lang="en-US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b="1" dirty="0" err="1">
                <a:solidFill>
                  <a:srgbClr val="000000"/>
                </a:solidFill>
                <a:latin typeface="Arial" charset="0"/>
              </a:rPr>
              <a:t>письмо</a:t>
            </a:r>
            <a:endParaRPr lang="en-US" dirty="0"/>
          </a:p>
          <a:p>
            <a:pPr>
              <a:lnSpc>
                <a:spcPct val="95000"/>
              </a:lnSpc>
              <a:buFont typeface="Wingdings" pitchFamily="2" charset="2"/>
              <a:buChar char="ü"/>
              <a:defRPr/>
            </a:pPr>
            <a:r>
              <a:rPr lang="en-US" b="1" dirty="0" err="1">
                <a:solidFill>
                  <a:srgbClr val="000000"/>
                </a:solidFill>
                <a:latin typeface="Arial" charset="0"/>
              </a:rPr>
              <a:t>Письмо</a:t>
            </a:r>
            <a:r>
              <a:rPr lang="en-US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US" b="1" dirty="0" err="1">
                <a:solidFill>
                  <a:srgbClr val="000000"/>
                </a:solidFill>
                <a:latin typeface="Arial" charset="0"/>
              </a:rPr>
              <a:t>учителю</a:t>
            </a:r>
            <a:endParaRPr lang="ru-RU" b="1" dirty="0">
              <a:solidFill>
                <a:srgbClr val="000000"/>
              </a:solidFill>
              <a:latin typeface="Arial" charset="0"/>
            </a:endParaRPr>
          </a:p>
          <a:p>
            <a:pPr>
              <a:lnSpc>
                <a:spcPct val="95000"/>
              </a:lnSpc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Общение в чате</a:t>
            </a:r>
            <a:endParaRPr lang="en-US" dirty="0"/>
          </a:p>
          <a:p>
            <a:pPr lvl="2" indent="-307182">
              <a:lnSpc>
                <a:spcPct val="95000"/>
              </a:lnSpc>
              <a:buClr>
                <a:srgbClr val="000000"/>
              </a:buClr>
              <a:buSzPct val="100000"/>
              <a:buFont typeface="Courier New" pitchFamily="49" charset="0"/>
              <a:buChar char="o"/>
              <a:defRPr/>
            </a:pPr>
            <a:r>
              <a:rPr lang="en-US" b="1" dirty="0" err="1">
                <a:solidFill>
                  <a:srgbClr val="000000"/>
                </a:solidFill>
                <a:latin typeface="Arial" charset="0"/>
              </a:rPr>
              <a:t>обращение</a:t>
            </a:r>
            <a:endParaRPr lang="en-US" dirty="0"/>
          </a:p>
          <a:p>
            <a:pPr lvl="2" indent="-307182">
              <a:lnSpc>
                <a:spcPct val="95000"/>
              </a:lnSpc>
              <a:buClr>
                <a:srgbClr val="000000"/>
              </a:buClr>
              <a:buSzPct val="100000"/>
              <a:buFont typeface="Courier New" pitchFamily="49" charset="0"/>
              <a:buChar char="o"/>
              <a:defRPr/>
            </a:pPr>
            <a:r>
              <a:rPr lang="en-US" b="1" dirty="0" err="1">
                <a:solidFill>
                  <a:srgbClr val="000000"/>
                </a:solidFill>
                <a:latin typeface="Arial" charset="0"/>
              </a:rPr>
              <a:t>приветствие</a:t>
            </a:r>
            <a:endParaRPr lang="en-US" dirty="0"/>
          </a:p>
          <a:p>
            <a:pPr lvl="2" indent="-307182">
              <a:lnSpc>
                <a:spcPct val="95000"/>
              </a:lnSpc>
              <a:buClr>
                <a:srgbClr val="000000"/>
              </a:buClr>
              <a:buSzPct val="100000"/>
              <a:buFont typeface="Courier New" pitchFamily="49" charset="0"/>
              <a:buChar char="o"/>
              <a:defRPr/>
            </a:pPr>
            <a:r>
              <a:rPr lang="en-US" b="1" dirty="0" err="1">
                <a:solidFill>
                  <a:srgbClr val="000000"/>
                </a:solidFill>
                <a:latin typeface="Arial" charset="0"/>
              </a:rPr>
              <a:t>вопрос</a:t>
            </a:r>
            <a:r>
              <a:rPr lang="en-US" b="1" dirty="0">
                <a:solidFill>
                  <a:srgbClr val="000000"/>
                </a:solidFill>
                <a:latin typeface="Arial" charset="0"/>
              </a:rPr>
              <a:t>- </a:t>
            </a:r>
            <a:r>
              <a:rPr lang="en-US" b="1" dirty="0" err="1">
                <a:solidFill>
                  <a:srgbClr val="000000"/>
                </a:solidFill>
                <a:latin typeface="Arial" charset="0"/>
              </a:rPr>
              <a:t>ответ</a:t>
            </a:r>
            <a:endParaRPr lang="en-US" dirty="0"/>
          </a:p>
          <a:p>
            <a:pPr lvl="2" indent="-307182">
              <a:lnSpc>
                <a:spcPct val="95000"/>
              </a:lnSpc>
              <a:buClr>
                <a:srgbClr val="000000"/>
              </a:buClr>
              <a:buSzPct val="100000"/>
              <a:buFont typeface="Courier New" pitchFamily="49" charset="0"/>
              <a:buChar char="o"/>
              <a:defRPr/>
            </a:pPr>
            <a:r>
              <a:rPr lang="en-US" b="1" dirty="0" err="1">
                <a:solidFill>
                  <a:srgbClr val="000000"/>
                </a:solidFill>
                <a:latin typeface="Arial" charset="0"/>
              </a:rPr>
              <a:t>прощание</a:t>
            </a:r>
            <a:endParaRPr lang="en-US" dirty="0"/>
          </a:p>
          <a:p>
            <a:pPr>
              <a:lnSpc>
                <a:spcPct val="95000"/>
              </a:lnSpc>
              <a:buClr>
                <a:srgbClr val="000000"/>
              </a:buClr>
              <a:buSzPct val="100000"/>
              <a:defRPr/>
            </a:pPr>
            <a:endParaRPr lang="en-US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904647" y="4747165"/>
            <a:ext cx="4243417" cy="185018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Работа в интерактивных листах</a:t>
            </a:r>
            <a:endParaRPr lang="en-US" dirty="0"/>
          </a:p>
          <a:p>
            <a:pPr>
              <a:lnSpc>
                <a:spcPct val="95000"/>
              </a:lnSpc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Составление рабочих листов</a:t>
            </a:r>
            <a:endParaRPr lang="en-US" dirty="0"/>
          </a:p>
          <a:p>
            <a:pPr>
              <a:lnSpc>
                <a:spcPct val="95000"/>
              </a:lnSpc>
              <a:buClr>
                <a:srgbClr val="000000"/>
              </a:buClr>
              <a:buSzPct val="100000"/>
              <a:defRPr/>
            </a:pPr>
            <a:endParaRPr lang="en-US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121941" y="1564469"/>
            <a:ext cx="4243417" cy="1480149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Сообщения на сайтах</a:t>
            </a:r>
            <a:endParaRPr lang="en-US" dirty="0"/>
          </a:p>
          <a:p>
            <a:pPr lvl="2" indent="-307182">
              <a:lnSpc>
                <a:spcPct val="95000"/>
              </a:lnSpc>
              <a:buClr>
                <a:srgbClr val="000000"/>
              </a:buClr>
              <a:buSzPct val="100000"/>
              <a:buFont typeface="Courier New" pitchFamily="49" charset="0"/>
              <a:buChar char="o"/>
              <a:defRPr/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Вступление</a:t>
            </a:r>
            <a:endParaRPr lang="en-US" dirty="0"/>
          </a:p>
          <a:p>
            <a:pPr lvl="2" indent="-307182">
              <a:lnSpc>
                <a:spcPct val="95000"/>
              </a:lnSpc>
              <a:buClr>
                <a:srgbClr val="000000"/>
              </a:buClr>
              <a:buSzPct val="100000"/>
              <a:buFont typeface="Courier New" pitchFamily="49" charset="0"/>
              <a:buChar char="o"/>
              <a:defRPr/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Основная мысль</a:t>
            </a:r>
            <a:endParaRPr lang="en-US" dirty="0"/>
          </a:p>
          <a:p>
            <a:pPr lvl="2" indent="-307182">
              <a:lnSpc>
                <a:spcPct val="95000"/>
              </a:lnSpc>
              <a:buClr>
                <a:srgbClr val="000000"/>
              </a:buClr>
              <a:buSzPct val="100000"/>
              <a:buFont typeface="Courier New" pitchFamily="49" charset="0"/>
              <a:buChar char="o"/>
              <a:defRPr/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Заключение</a:t>
            </a:r>
            <a:endParaRPr lang="en-US" dirty="0"/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4355976" y="3717032"/>
            <a:ext cx="4243417" cy="185018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  <a:headEnd/>
            <a:tailEnd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/>
          <a:p>
            <a:pPr>
              <a:lnSpc>
                <a:spcPct val="95000"/>
              </a:lnSpc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Ответы на вопросы анкеты</a:t>
            </a:r>
            <a:endParaRPr lang="en-US" dirty="0"/>
          </a:p>
          <a:p>
            <a:pPr>
              <a:lnSpc>
                <a:spcPct val="95000"/>
              </a:lnSpc>
              <a:buFont typeface="Wingdings" pitchFamily="2" charset="2"/>
              <a:buChar char="ü"/>
              <a:defRPr/>
            </a:pPr>
            <a:r>
              <a:rPr lang="ru-RU" b="1" dirty="0">
                <a:solidFill>
                  <a:srgbClr val="000000"/>
                </a:solidFill>
                <a:latin typeface="Arial" charset="0"/>
              </a:rPr>
              <a:t>Составление своих </a:t>
            </a:r>
            <a:r>
              <a:rPr lang="ru-RU" b="1" dirty="0" err="1">
                <a:solidFill>
                  <a:srgbClr val="000000"/>
                </a:solidFill>
                <a:latin typeface="Arial" charset="0"/>
              </a:rPr>
              <a:t>опросников</a:t>
            </a:r>
            <a:endParaRPr lang="ru-RU" b="1" dirty="0">
              <a:solidFill>
                <a:srgbClr val="000000"/>
              </a:solidFill>
              <a:latin typeface="Arial" charset="0"/>
            </a:endParaRPr>
          </a:p>
          <a:p>
            <a:pPr>
              <a:lnSpc>
                <a:spcPct val="95000"/>
              </a:lnSpc>
              <a:buClr>
                <a:srgbClr val="000000"/>
              </a:buClr>
              <a:buSzPct val="100000"/>
              <a:defRPr/>
            </a:pPr>
            <a:endParaRPr lang="en-US" b="1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7" name="Group 29"/>
          <p:cNvGrpSpPr>
            <a:grpSpLocks/>
          </p:cNvGrpSpPr>
          <p:nvPr/>
        </p:nvGrpSpPr>
        <p:grpSpPr bwMode="auto">
          <a:xfrm>
            <a:off x="180528" y="0"/>
            <a:ext cx="791072" cy="6858000"/>
            <a:chOff x="205" y="1"/>
            <a:chExt cx="406" cy="3836"/>
          </a:xfrm>
        </p:grpSpPr>
        <p:grpSp>
          <p:nvGrpSpPr>
            <p:cNvPr id="11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9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20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1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2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3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4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5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6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12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3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4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5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6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7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8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0"/>
                            </p:stCondLst>
                            <p:childTnLst>
                              <p:par>
                                <p:cTn id="26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264319" y="214313"/>
            <a:ext cx="8229600" cy="900113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defRPr/>
            </a:pP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</a:rPr>
              <a:t>Примеры заданий в электронной среде.</a:t>
            </a:r>
            <a:br>
              <a:rPr lang="ru-RU" sz="32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</a:rPr>
              <a:t> Работа на сайте. </a:t>
            </a:r>
            <a:endParaRPr lang="ru-RU" sz="3600" b="1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264289" y="664349"/>
          <a:ext cx="8615423" cy="5825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107504" y="0"/>
            <a:ext cx="827584" cy="6858000"/>
            <a:chOff x="205" y="1"/>
            <a:chExt cx="406" cy="3836"/>
          </a:xfrm>
        </p:grpSpPr>
        <p:grpSp>
          <p:nvGrpSpPr>
            <p:cNvPr id="5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4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5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1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7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3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3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388" y="0"/>
            <a:ext cx="8640762" cy="64801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00113" y="836712"/>
            <a:ext cx="8243887" cy="55800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grpSp>
        <p:nvGrpSpPr>
          <p:cNvPr id="6" name="Group 29"/>
          <p:cNvGrpSpPr>
            <a:grpSpLocks/>
          </p:cNvGrpSpPr>
          <p:nvPr/>
        </p:nvGrpSpPr>
        <p:grpSpPr bwMode="auto">
          <a:xfrm>
            <a:off x="180528" y="0"/>
            <a:ext cx="647056" cy="6858000"/>
            <a:chOff x="205" y="1"/>
            <a:chExt cx="406" cy="3836"/>
          </a:xfrm>
        </p:grpSpPr>
        <p:grpSp>
          <p:nvGrpSpPr>
            <p:cNvPr id="7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5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6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1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2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8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3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4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 additive="repl">
                                        <p:cTn id="13" dur="2000"/>
                                        <p:tgtEl>
                                          <p:spTgt spid="23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 additive="repl">
                                        <p:cTn id="17" dur="2000"/>
                                        <p:tgtEl>
                                          <p:spTgt spid="23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3"/>
          <p:cNvSpPr>
            <a:spLocks noChangeArrowheads="1"/>
          </p:cNvSpPr>
          <p:nvPr/>
        </p:nvSpPr>
        <p:spPr bwMode="auto">
          <a:xfrm>
            <a:off x="4139952" y="6094883"/>
            <a:ext cx="4498404" cy="763117"/>
          </a:xfrm>
          <a:prstGeom prst="rect">
            <a:avLst/>
          </a:prstGeom>
          <a:solidFill>
            <a:schemeClr val="accent1">
              <a:alpha val="50195"/>
            </a:scheme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8437" name="Oval 5">
            <a:hlinkClick r:id="" action="ppaction://hlinkshowjump?jump=nextslide"/>
          </p:cNvPr>
          <p:cNvSpPr>
            <a:spLocks noChangeArrowheads="1"/>
          </p:cNvSpPr>
          <p:nvPr/>
        </p:nvSpPr>
        <p:spPr bwMode="auto">
          <a:xfrm rot="-960000">
            <a:off x="7059881" y="6299185"/>
            <a:ext cx="1004887" cy="42862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8438" name="Rectangle 6">
            <a:hlinkClick r:id="" action="ppaction://hlinkshowjump?jump=nextslide"/>
          </p:cNvPr>
          <p:cNvSpPr>
            <a:spLocks noChangeArrowheads="1"/>
          </p:cNvSpPr>
          <p:nvPr/>
        </p:nvSpPr>
        <p:spPr bwMode="auto">
          <a:xfrm rot="-1260000">
            <a:off x="6903236" y="6288194"/>
            <a:ext cx="1183802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>
              <a:spcBef>
                <a:spcPct val="50000"/>
              </a:spcBef>
            </a:pPr>
            <a:r>
              <a:rPr lang="ru-RU" dirty="0">
                <a:latin typeface="Arial" pitchFamily="34" charset="0"/>
              </a:rPr>
              <a:t> Вперёд</a:t>
            </a:r>
            <a:endParaRPr lang="ru-RU" dirty="0"/>
          </a:p>
        </p:txBody>
      </p:sp>
      <p:sp>
        <p:nvSpPr>
          <p:cNvPr id="18439" name="Oval 7"/>
          <p:cNvSpPr>
            <a:spLocks noChangeArrowheads="1"/>
          </p:cNvSpPr>
          <p:nvPr/>
        </p:nvSpPr>
        <p:spPr bwMode="auto">
          <a:xfrm rot="-960000">
            <a:off x="5835745" y="6299184"/>
            <a:ext cx="1004887" cy="42862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8440" name="Oval 8">
            <a:hlinkClick r:id="" action="ppaction://hlinkshowjump?jump=endshow"/>
          </p:cNvPr>
          <p:cNvSpPr>
            <a:spLocks noChangeArrowheads="1"/>
          </p:cNvSpPr>
          <p:nvPr/>
        </p:nvSpPr>
        <p:spPr bwMode="auto">
          <a:xfrm rot="-960000">
            <a:off x="4611609" y="6299185"/>
            <a:ext cx="1004887" cy="42862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18441" name="Picture 9">
            <a:hlinkClick r:id="" action="ppaction://hlinkshowjump?jump=endshow"/>
          </p:cNvPr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68230" y="6309320"/>
            <a:ext cx="32385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44" name="Rectangle 30"/>
          <p:cNvSpPr>
            <a:spLocks noChangeArrowheads="1"/>
          </p:cNvSpPr>
          <p:nvPr/>
        </p:nvSpPr>
        <p:spPr bwMode="auto">
          <a:xfrm>
            <a:off x="4788024" y="6491287"/>
            <a:ext cx="28082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spcBef>
                <a:spcPct val="50000"/>
              </a:spcBef>
            </a:pPr>
            <a:endParaRPr lang="ru-RU" sz="2400" dirty="0">
              <a:latin typeface="Times New Roman" pitchFamily="18" charset="0"/>
            </a:endParaRPr>
          </a:p>
        </p:txBody>
      </p:sp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0" y="0"/>
            <a:ext cx="827584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58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59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0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4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5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2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3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6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7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6" name="Заголовок 25"/>
          <p:cNvSpPr>
            <a:spLocks noGrp="1"/>
          </p:cNvSpPr>
          <p:nvPr>
            <p:ph type="ctrTitle"/>
          </p:nvPr>
        </p:nvSpPr>
        <p:spPr>
          <a:xfrm>
            <a:off x="3491880" y="216024"/>
            <a:ext cx="4176464" cy="908720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 Обо всём понемногу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27" name="Подзаголовок 26"/>
          <p:cNvSpPr>
            <a:spLocks noGrp="1"/>
          </p:cNvSpPr>
          <p:nvPr>
            <p:ph type="subTitle" idx="1"/>
          </p:nvPr>
        </p:nvSpPr>
        <p:spPr>
          <a:xfrm>
            <a:off x="3419872" y="1628800"/>
            <a:ext cx="4280520" cy="792088"/>
          </a:xfrm>
        </p:spPr>
        <p:txBody>
          <a:bodyPr>
            <a:normAutofit/>
          </a:bodyPr>
          <a:lstStyle/>
          <a:p>
            <a:r>
              <a:rPr lang="ru-RU" sz="4400" b="1" dirty="0" smtClean="0">
                <a:solidFill>
                  <a:schemeClr val="tx2"/>
                </a:solidFill>
              </a:rPr>
              <a:t> </a:t>
            </a:r>
            <a:r>
              <a:rPr lang="ru-RU" sz="4000" b="1" dirty="0" smtClean="0">
                <a:solidFill>
                  <a:schemeClr val="tx2"/>
                </a:solidFill>
              </a:rPr>
              <a:t>Хочу всё знать</a:t>
            </a:r>
            <a:endParaRPr lang="ru-RU" sz="4400" b="1" dirty="0">
              <a:solidFill>
                <a:schemeClr val="tx2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275856" y="2924944"/>
            <a:ext cx="439248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/>
              <a:t> </a:t>
            </a:r>
            <a:r>
              <a:rPr lang="ru-RU" sz="4000" b="1" dirty="0" smtClean="0">
                <a:solidFill>
                  <a:schemeClr val="accent1">
                    <a:lumMod val="75000"/>
                  </a:schemeClr>
                </a:solidFill>
              </a:rPr>
              <a:t>Прыжки в высоту</a:t>
            </a:r>
            <a:endParaRPr lang="ru-RU" sz="4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635896" y="4121785"/>
            <a:ext cx="410445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tx2"/>
                </a:solidFill>
              </a:rPr>
              <a:t> Там,</a:t>
            </a:r>
          </a:p>
          <a:p>
            <a:pPr algn="ctr"/>
            <a:r>
              <a:rPr lang="ru-RU" sz="4000" b="1" dirty="0" smtClean="0">
                <a:solidFill>
                  <a:schemeClr val="tx2"/>
                </a:solidFill>
              </a:rPr>
              <a:t> за горизонтом…</a:t>
            </a:r>
            <a:endParaRPr lang="ru-RU" sz="40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7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13" dur="80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14" dur="80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" dur="80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680"/>
                            </p:stCondLst>
                            <p:childTnLst>
                              <p:par>
                                <p:cTn id="17" presetID="27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19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0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" dur="8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00"/>
                            </p:stCondLst>
                            <p:childTnLst>
                              <p:par>
                                <p:cTn id="23" presetID="27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25" dur="80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6" dur="80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7" dur="80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60"/>
                            </p:stCondLst>
                            <p:childTnLst>
                              <p:par>
                                <p:cTn id="29" presetID="27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31" dur="80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32" dur="80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3" dur="80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 build="p"/>
      <p:bldP spid="28" grpId="0"/>
      <p:bldP spid="2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3"/>
          <p:cNvSpPr>
            <a:spLocks noChangeArrowheads="1"/>
          </p:cNvSpPr>
          <p:nvPr/>
        </p:nvSpPr>
        <p:spPr bwMode="auto">
          <a:xfrm>
            <a:off x="4139952" y="6094883"/>
            <a:ext cx="4498404" cy="763117"/>
          </a:xfrm>
          <a:prstGeom prst="rect">
            <a:avLst/>
          </a:prstGeom>
          <a:solidFill>
            <a:schemeClr val="accent1">
              <a:alpha val="50195"/>
            </a:scheme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8437" name="Oval 5">
            <a:hlinkClick r:id="" action="ppaction://hlinkshowjump?jump=nextslide"/>
          </p:cNvPr>
          <p:cNvSpPr>
            <a:spLocks noChangeArrowheads="1"/>
          </p:cNvSpPr>
          <p:nvPr/>
        </p:nvSpPr>
        <p:spPr bwMode="auto">
          <a:xfrm rot="-960000">
            <a:off x="7059881" y="6299185"/>
            <a:ext cx="1004887" cy="42862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8438" name="Rectangle 6">
            <a:hlinkClick r:id="" action="ppaction://hlinkshowjump?jump=nextslide"/>
          </p:cNvPr>
          <p:cNvSpPr>
            <a:spLocks noChangeArrowheads="1"/>
          </p:cNvSpPr>
          <p:nvPr/>
        </p:nvSpPr>
        <p:spPr bwMode="auto">
          <a:xfrm rot="-1260000">
            <a:off x="6903236" y="6288194"/>
            <a:ext cx="1183802" cy="369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>
              <a:spcBef>
                <a:spcPct val="50000"/>
              </a:spcBef>
            </a:pPr>
            <a:r>
              <a:rPr lang="ru-RU" dirty="0">
                <a:latin typeface="Arial" pitchFamily="34" charset="0"/>
              </a:rPr>
              <a:t> Вперёд</a:t>
            </a:r>
            <a:endParaRPr lang="ru-RU" dirty="0"/>
          </a:p>
        </p:txBody>
      </p:sp>
      <p:sp>
        <p:nvSpPr>
          <p:cNvPr id="18439" name="Oval 7"/>
          <p:cNvSpPr>
            <a:spLocks noChangeArrowheads="1"/>
          </p:cNvSpPr>
          <p:nvPr/>
        </p:nvSpPr>
        <p:spPr bwMode="auto">
          <a:xfrm rot="-960000">
            <a:off x="5835745" y="6299184"/>
            <a:ext cx="1004887" cy="42862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8440" name="Oval 8">
            <a:hlinkClick r:id="" action="ppaction://hlinkshowjump?jump=endshow"/>
          </p:cNvPr>
          <p:cNvSpPr>
            <a:spLocks noChangeArrowheads="1"/>
          </p:cNvSpPr>
          <p:nvPr/>
        </p:nvSpPr>
        <p:spPr bwMode="auto">
          <a:xfrm rot="-960000">
            <a:off x="4611609" y="6299185"/>
            <a:ext cx="1004887" cy="428625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18441" name="Picture 9">
            <a:hlinkClick r:id="" action="ppaction://hlinkshowjump?jump=endshow"/>
          </p:cNvPr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68230" y="6309320"/>
            <a:ext cx="32385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44" name="Rectangle 30"/>
          <p:cNvSpPr>
            <a:spLocks noChangeArrowheads="1"/>
          </p:cNvSpPr>
          <p:nvPr/>
        </p:nvSpPr>
        <p:spPr bwMode="auto">
          <a:xfrm>
            <a:off x="4788024" y="6491287"/>
            <a:ext cx="28082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>
              <a:spcBef>
                <a:spcPct val="50000"/>
              </a:spcBef>
            </a:pPr>
            <a:endParaRPr lang="ru-RU" sz="2400" dirty="0">
              <a:latin typeface="Times New Roman" pitchFamily="18" charset="0"/>
            </a:endParaRPr>
          </a:p>
        </p:txBody>
      </p:sp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35496" y="0"/>
            <a:ext cx="720080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58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59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0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4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5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2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3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6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7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6" name="Прямоугольник 25"/>
          <p:cNvSpPr/>
          <p:nvPr/>
        </p:nvSpPr>
        <p:spPr>
          <a:xfrm>
            <a:off x="1403648" y="332656"/>
            <a:ext cx="6552728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200" b="1" i="1" dirty="0" smtClean="0">
                <a:solidFill>
                  <a:schemeClr val="tx2">
                    <a:lumMod val="75000"/>
                  </a:schemeClr>
                </a:solidFill>
              </a:rPr>
              <a:t>Многие формы жизни стали новыми. </a:t>
            </a:r>
          </a:p>
          <a:p>
            <a:pPr>
              <a:defRPr/>
            </a:pPr>
            <a:r>
              <a:rPr lang="ru-RU" sz="3200" b="1" i="1" dirty="0" smtClean="0">
                <a:solidFill>
                  <a:schemeClr val="tx2">
                    <a:lumMod val="75000"/>
                  </a:schemeClr>
                </a:solidFill>
              </a:rPr>
              <a:t>А формы обучения до того уже обветшали, что пришло время подумать об их усовершенствовании.</a:t>
            </a:r>
          </a:p>
          <a:p>
            <a:pPr algn="r">
              <a:defRPr/>
            </a:pPr>
            <a:r>
              <a:rPr lang="ru-RU" sz="3200" b="1" i="1" dirty="0" smtClean="0">
                <a:solidFill>
                  <a:srgbClr val="FF0000"/>
                </a:solidFill>
              </a:rPr>
              <a:t>Д.Менделеев</a:t>
            </a:r>
          </a:p>
        </p:txBody>
      </p:sp>
      <p:sp>
        <p:nvSpPr>
          <p:cNvPr id="27" name="Заголовок 26"/>
          <p:cNvSpPr>
            <a:spLocks noGrp="1"/>
          </p:cNvSpPr>
          <p:nvPr>
            <p:ph type="title"/>
          </p:nvPr>
        </p:nvSpPr>
        <p:spPr>
          <a:xfrm>
            <a:off x="3851920" y="4149080"/>
            <a:ext cx="3816424" cy="1152128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400" dirty="0" smtClean="0">
                <a:solidFill>
                  <a:schemeClr val="accent1">
                    <a:lumMod val="75000"/>
                  </a:schemeClr>
                </a:solidFill>
              </a:rPr>
              <a:t>Там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,</a:t>
            </a:r>
            <a:b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 за горизонтом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4" presetClass="entr" presetSubtype="0" ac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4" presetClass="entr" presetSubtype="0" ac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54" presetClass="entr" presetSubtype="0" ac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title"/>
          </p:nvPr>
        </p:nvSpPr>
        <p:spPr>
          <a:xfrm>
            <a:off x="1043608" y="274638"/>
            <a:ext cx="7643192" cy="1143000"/>
          </a:xfrm>
        </p:spPr>
        <p:txBody>
          <a:bodyPr>
            <a:normAutofit fontScale="90000"/>
          </a:bodyPr>
          <a:lstStyle/>
          <a:p>
            <a:pPr algn="l"/>
            <a:r>
              <a:rPr lang="ru-RU" sz="4000" b="1" dirty="0" smtClean="0"/>
              <a:t> </a:t>
            </a:r>
            <a:r>
              <a:rPr lang="ru-RU" sz="4000" b="1" dirty="0" smtClean="0">
                <a:solidFill>
                  <a:schemeClr val="tx2"/>
                </a:solidFill>
              </a:rPr>
              <a:t>Перспективы использования ИКТ</a:t>
            </a:r>
            <a:br>
              <a:rPr lang="ru-RU" sz="4000" b="1" dirty="0" smtClean="0">
                <a:solidFill>
                  <a:schemeClr val="tx2"/>
                </a:solidFill>
              </a:rPr>
            </a:br>
            <a:r>
              <a:rPr lang="ru-RU" sz="4000" b="1" dirty="0" smtClean="0">
                <a:solidFill>
                  <a:schemeClr val="tx2"/>
                </a:solidFill>
              </a:rPr>
              <a:t>             в </a:t>
            </a:r>
            <a:r>
              <a:rPr lang="ru-RU" sz="4000" b="1" dirty="0">
                <a:solidFill>
                  <a:schemeClr val="tx2"/>
                </a:solidFill>
              </a:rPr>
              <a:t>образовании</a:t>
            </a:r>
            <a:r>
              <a:rPr lang="ru-RU" sz="40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55576" y="1556792"/>
            <a:ext cx="7931224" cy="4310608"/>
          </a:xfrm>
        </p:spPr>
        <p:txBody>
          <a:bodyPr>
            <a:noAutofit/>
          </a:bodyPr>
          <a:lstStyle/>
          <a:p>
            <a:r>
              <a:rPr lang="ru-RU" b="1" dirty="0" smtClean="0">
                <a:solidFill>
                  <a:schemeClr val="tx2"/>
                </a:solidFill>
              </a:rPr>
              <a:t>Автоматизированные</a:t>
            </a:r>
          </a:p>
          <a:p>
            <a:pPr>
              <a:buNone/>
            </a:pPr>
            <a:r>
              <a:rPr lang="ru-RU" b="1" dirty="0" smtClean="0">
                <a:solidFill>
                  <a:schemeClr val="tx2"/>
                </a:solidFill>
              </a:rPr>
              <a:t>     </a:t>
            </a:r>
            <a:r>
              <a:rPr lang="ru-RU" b="1" dirty="0">
                <a:solidFill>
                  <a:schemeClr val="tx2"/>
                </a:solidFill>
              </a:rPr>
              <a:t>обучающие </a:t>
            </a:r>
            <a:r>
              <a:rPr lang="ru-RU" b="1" dirty="0" smtClean="0">
                <a:solidFill>
                  <a:schemeClr val="tx2"/>
                </a:solidFill>
              </a:rPr>
              <a:t>системы.</a:t>
            </a:r>
            <a:endParaRPr lang="ru-RU" dirty="0">
              <a:solidFill>
                <a:schemeClr val="tx2"/>
              </a:solidFill>
            </a:endParaRPr>
          </a:p>
          <a:p>
            <a:r>
              <a:rPr lang="ru-RU" b="1" dirty="0">
                <a:solidFill>
                  <a:schemeClr val="tx2"/>
                </a:solidFill>
              </a:rPr>
              <a:t>Экспертные обучающие </a:t>
            </a:r>
            <a:r>
              <a:rPr lang="ru-RU" b="1" dirty="0" smtClean="0">
                <a:solidFill>
                  <a:schemeClr val="tx2"/>
                </a:solidFill>
              </a:rPr>
              <a:t>системы.</a:t>
            </a:r>
            <a:endParaRPr lang="ru-RU" b="1" dirty="0">
              <a:solidFill>
                <a:schemeClr val="tx2"/>
              </a:solidFill>
            </a:endParaRPr>
          </a:p>
          <a:p>
            <a:r>
              <a:rPr lang="ru-RU" b="1" dirty="0">
                <a:solidFill>
                  <a:schemeClr val="tx2"/>
                </a:solidFill>
              </a:rPr>
              <a:t>Учебные базы </a:t>
            </a:r>
            <a:r>
              <a:rPr lang="ru-RU" b="1" dirty="0" smtClean="0">
                <a:solidFill>
                  <a:schemeClr val="tx2"/>
                </a:solidFill>
              </a:rPr>
              <a:t>данных.</a:t>
            </a:r>
            <a:endParaRPr lang="ru-RU" b="1" dirty="0">
              <a:solidFill>
                <a:schemeClr val="tx2"/>
              </a:solidFill>
            </a:endParaRPr>
          </a:p>
          <a:p>
            <a:r>
              <a:rPr lang="ru-RU" b="1" dirty="0" smtClean="0">
                <a:solidFill>
                  <a:schemeClr val="tx2"/>
                </a:solidFill>
              </a:rPr>
              <a:t>Системы </a:t>
            </a:r>
            <a:r>
              <a:rPr lang="ru-RU" b="1" dirty="0">
                <a:solidFill>
                  <a:schemeClr val="tx2"/>
                </a:solidFill>
              </a:rPr>
              <a:t>Виртуальной </a:t>
            </a:r>
            <a:r>
              <a:rPr lang="ru-RU" b="1" dirty="0" smtClean="0">
                <a:solidFill>
                  <a:schemeClr val="tx2"/>
                </a:solidFill>
              </a:rPr>
              <a:t>реальности, в том числе  виртуальный класс. </a:t>
            </a:r>
            <a:endParaRPr lang="ru-RU" b="1" dirty="0">
              <a:solidFill>
                <a:schemeClr val="tx2"/>
              </a:solidFill>
            </a:endParaRPr>
          </a:p>
          <a:p>
            <a:r>
              <a:rPr lang="ru-RU" b="1" dirty="0">
                <a:solidFill>
                  <a:schemeClr val="tx2"/>
                </a:solidFill>
              </a:rPr>
              <a:t>Образовательные компьютерные </a:t>
            </a:r>
            <a:r>
              <a:rPr lang="ru-RU" b="1" dirty="0" smtClean="0">
                <a:solidFill>
                  <a:schemeClr val="tx2"/>
                </a:solidFill>
              </a:rPr>
              <a:t> телекоммуникационные сети</a:t>
            </a:r>
            <a:r>
              <a:rPr lang="ru-RU" sz="3600" dirty="0">
                <a:solidFill>
                  <a:schemeClr val="tx2"/>
                </a:solidFill>
              </a:rPr>
              <a:t>.</a:t>
            </a:r>
            <a:r>
              <a:rPr lang="ru-RU" sz="3600" dirty="0" smtClean="0">
                <a:solidFill>
                  <a:schemeClr val="tx2"/>
                </a:solidFill>
              </a:rPr>
              <a:t> </a:t>
            </a:r>
            <a:endParaRPr lang="ru-RU" sz="3600" dirty="0">
              <a:solidFill>
                <a:schemeClr val="tx2"/>
              </a:solidFill>
            </a:endParaRPr>
          </a:p>
        </p:txBody>
      </p:sp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35496" y="0"/>
            <a:ext cx="720080" cy="6858000"/>
            <a:chOff x="205" y="1"/>
            <a:chExt cx="406" cy="3836"/>
          </a:xfrm>
        </p:grpSpPr>
        <p:grpSp>
          <p:nvGrpSpPr>
            <p:cNvPr id="5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3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4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5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6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7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pic>
        <p:nvPicPr>
          <p:cNvPr id="21" name="Picture 3" descr="F:\Уроки\ПРЕЗЕНТАЦИИ\Материалы для презентаций\смайлы\из аси\Юзер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96136" y="1124744"/>
            <a:ext cx="2592288" cy="1501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62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62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62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6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6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0" dur="1000"/>
                                        <p:tgtEl>
                                          <p:spTgt spid="962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4" dur="1000"/>
                                        <p:tgtEl>
                                          <p:spTgt spid="962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28" dur="1000"/>
                                        <p:tgtEl>
                                          <p:spTgt spid="962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2" dur="1000"/>
                                        <p:tgtEl>
                                          <p:spTgt spid="962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0"/>
                            </p:stCondLst>
                            <p:childTnLst>
                              <p:par>
                                <p:cTn id="34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36" dur="1000"/>
                                        <p:tgtEl>
                                          <p:spTgt spid="962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6000"/>
                            </p:stCondLst>
                            <p:childTnLst>
                              <p:par>
                                <p:cTn id="38" presetID="3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2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40" dur="1000"/>
                                        <p:tgtEl>
                                          <p:spTgt spid="962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258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Text Box 3"/>
          <p:cNvSpPr txBox="1">
            <a:spLocks noChangeArrowheads="1"/>
          </p:cNvSpPr>
          <p:nvPr/>
        </p:nvSpPr>
        <p:spPr bwMode="auto">
          <a:xfrm>
            <a:off x="827584" y="188640"/>
            <a:ext cx="7776864" cy="6494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ct val="50000"/>
              </a:spcBef>
              <a:buFont typeface="Wingdings" pitchFamily="2" charset="2"/>
              <a:buChar char="§"/>
            </a:pPr>
            <a:r>
              <a:rPr lang="ru-RU" sz="3200" b="1" dirty="0">
                <a:solidFill>
                  <a:schemeClr val="tx2"/>
                </a:solidFill>
              </a:rPr>
              <a:t>Использование открытых, бесплатных и свободных электронных ресурсов. </a:t>
            </a:r>
          </a:p>
          <a:p>
            <a:pPr marL="342900" indent="-342900">
              <a:spcBef>
                <a:spcPct val="50000"/>
              </a:spcBef>
              <a:buFont typeface="Wingdings" pitchFamily="2" charset="2"/>
              <a:buChar char="§"/>
            </a:pPr>
            <a:r>
              <a:rPr lang="ru-RU" sz="3200" b="1" dirty="0">
                <a:solidFill>
                  <a:schemeClr val="tx2"/>
                </a:solidFill>
              </a:rPr>
              <a:t>Самостоятельное создание сетевого учебного содержания, вплоть до собственного канала на </a:t>
            </a:r>
            <a:r>
              <a:rPr lang="ru-RU" sz="3200" b="1" dirty="0" err="1">
                <a:solidFill>
                  <a:schemeClr val="tx2"/>
                </a:solidFill>
              </a:rPr>
              <a:t>ютубе</a:t>
            </a:r>
            <a:r>
              <a:rPr lang="ru-RU" sz="3200" b="1" dirty="0">
                <a:solidFill>
                  <a:schemeClr val="tx2"/>
                </a:solidFill>
              </a:rPr>
              <a:t>. </a:t>
            </a:r>
          </a:p>
          <a:p>
            <a:pPr marL="342900" indent="-342900">
              <a:spcBef>
                <a:spcPct val="50000"/>
              </a:spcBef>
              <a:buFont typeface="Wingdings" pitchFamily="2" charset="2"/>
              <a:buChar char="§"/>
            </a:pPr>
            <a:r>
              <a:rPr lang="ru-RU" sz="3200" b="1" dirty="0">
                <a:solidFill>
                  <a:schemeClr val="tx2"/>
                </a:solidFill>
              </a:rPr>
              <a:t>Наблюдение за деятельностью участников сообщества</a:t>
            </a:r>
            <a:r>
              <a:rPr lang="ru-RU" sz="3200" b="1" dirty="0" smtClean="0">
                <a:solidFill>
                  <a:schemeClr val="tx2"/>
                </a:solidFill>
              </a:rPr>
              <a:t>.</a:t>
            </a:r>
          </a:p>
          <a:p>
            <a:pPr marL="342900" indent="-342900" algn="r"/>
            <a:r>
              <a:rPr lang="ru-RU" sz="3200" b="1" dirty="0" smtClean="0">
                <a:solidFill>
                  <a:schemeClr val="tx2"/>
                </a:solidFill>
              </a:rPr>
              <a:t>                           </a:t>
            </a:r>
            <a:r>
              <a:rPr lang="ru-RU" sz="3200" b="1" dirty="0">
                <a:solidFill>
                  <a:schemeClr val="tx2"/>
                </a:solidFill>
              </a:rPr>
              <a:t>Сеть Интернет открывает </a:t>
            </a:r>
            <a:r>
              <a:rPr lang="ru-RU" sz="3200" b="1" dirty="0" smtClean="0">
                <a:solidFill>
                  <a:schemeClr val="tx2"/>
                </a:solidFill>
              </a:rPr>
              <a:t>          </a:t>
            </a:r>
            <a:r>
              <a:rPr lang="ru-RU" sz="3600" b="1" i="1" dirty="0" smtClean="0">
                <a:solidFill>
                  <a:schemeClr val="tx2"/>
                </a:solidFill>
              </a:rPr>
              <a:t>новые возможности</a:t>
            </a:r>
            <a:endParaRPr lang="ru-RU" sz="3200" b="1" i="1" dirty="0" smtClean="0">
              <a:solidFill>
                <a:schemeClr val="tx2"/>
              </a:solidFill>
            </a:endParaRPr>
          </a:p>
          <a:p>
            <a:pPr marL="342900" indent="-342900" algn="r"/>
            <a:r>
              <a:rPr lang="ru-RU" sz="3200" b="1" dirty="0" smtClean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</a:rPr>
              <a:t>для </a:t>
            </a:r>
            <a:r>
              <a:rPr lang="ru-RU" sz="3200" b="1" dirty="0" smtClean="0">
                <a:solidFill>
                  <a:schemeClr val="tx2"/>
                </a:solidFill>
              </a:rPr>
              <a:t>    участия </a:t>
            </a:r>
            <a:r>
              <a:rPr lang="ru-RU" sz="3200" b="1" dirty="0">
                <a:solidFill>
                  <a:schemeClr val="tx2"/>
                </a:solidFill>
              </a:rPr>
              <a:t>учащихся </a:t>
            </a:r>
            <a:endParaRPr lang="ru-RU" sz="3200" b="1" dirty="0" smtClean="0">
              <a:solidFill>
                <a:schemeClr val="tx2"/>
              </a:solidFill>
            </a:endParaRPr>
          </a:p>
          <a:p>
            <a:pPr marL="342900" indent="-342900" algn="r"/>
            <a:r>
              <a:rPr lang="ru-RU" sz="3200" b="1" dirty="0" smtClean="0">
                <a:solidFill>
                  <a:schemeClr val="tx2"/>
                </a:solidFill>
              </a:rPr>
              <a:t>в профессиональных</a:t>
            </a:r>
          </a:p>
          <a:p>
            <a:pPr marL="342900" indent="-342900" algn="r"/>
            <a:r>
              <a:rPr lang="ru-RU" sz="3200" b="1" dirty="0" smtClean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</a:rPr>
              <a:t>научных </a:t>
            </a:r>
            <a:r>
              <a:rPr lang="ru-RU" sz="3200" b="1" dirty="0" smtClean="0">
                <a:solidFill>
                  <a:schemeClr val="tx2"/>
                </a:solidFill>
              </a:rPr>
              <a:t>сообществах.</a:t>
            </a:r>
            <a:endParaRPr lang="ru-RU" sz="2800" dirty="0"/>
          </a:p>
        </p:txBody>
      </p:sp>
      <p:grpSp>
        <p:nvGrpSpPr>
          <p:cNvPr id="4" name="Group 29"/>
          <p:cNvGrpSpPr>
            <a:grpSpLocks/>
          </p:cNvGrpSpPr>
          <p:nvPr/>
        </p:nvGrpSpPr>
        <p:grpSpPr bwMode="auto">
          <a:xfrm>
            <a:off x="72008" y="0"/>
            <a:ext cx="827584" cy="6858000"/>
            <a:chOff x="205" y="1"/>
            <a:chExt cx="406" cy="3836"/>
          </a:xfrm>
        </p:grpSpPr>
        <p:grpSp>
          <p:nvGrpSpPr>
            <p:cNvPr id="5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3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4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5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6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7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1000"/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1000"/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1000"/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000"/>
                            </p:stCondLst>
                            <p:childTnLst>
                              <p:par>
                                <p:cTn id="23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1000"/>
                                        <p:tgtEl>
                                          <p:spTgt spid="440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0"/>
                            </p:stCondLst>
                            <p:childTnLst>
                              <p:par>
                                <p:cTn id="2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1000"/>
                                        <p:tgtEl>
                                          <p:spTgt spid="440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000"/>
                            </p:stCondLst>
                            <p:childTnLst>
                              <p:par>
                                <p:cTn id="31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1000"/>
                                        <p:tgtEl>
                                          <p:spTgt spid="440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7000"/>
                            </p:stCondLst>
                            <p:childTnLst>
                              <p:par>
                                <p:cTn id="3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1000"/>
                                        <p:tgtEl>
                                          <p:spTgt spid="440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Text Box 3"/>
          <p:cNvSpPr txBox="1">
            <a:spLocks noChangeArrowheads="1"/>
          </p:cNvSpPr>
          <p:nvPr/>
        </p:nvSpPr>
        <p:spPr bwMode="auto">
          <a:xfrm>
            <a:off x="971600" y="1136933"/>
            <a:ext cx="7632848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-342900" algn="ctr"/>
            <a:r>
              <a:rPr lang="ru-RU" sz="3600" b="1" i="1" dirty="0" smtClean="0">
                <a:solidFill>
                  <a:schemeClr val="tx2"/>
                </a:solidFill>
                <a:latin typeface="Monotype Corsiva" pitchFamily="66" charset="0"/>
              </a:rPr>
              <a:t> </a:t>
            </a:r>
            <a:r>
              <a:rPr lang="ru-RU" sz="4800" b="1" i="1" dirty="0" smtClean="0">
                <a:solidFill>
                  <a:schemeClr val="tx2"/>
                </a:solidFill>
                <a:latin typeface="Monotype Corsiva" pitchFamily="66" charset="0"/>
              </a:rPr>
              <a:t> Безграмотными в 21 веке  будут не те, кто не умеет писать и читать,  а те, </a:t>
            </a:r>
          </a:p>
          <a:p>
            <a:pPr indent="-342900" algn="ctr"/>
            <a:r>
              <a:rPr lang="ru-RU" sz="4800" b="1" i="1" dirty="0" smtClean="0">
                <a:solidFill>
                  <a:schemeClr val="tx2"/>
                </a:solidFill>
                <a:latin typeface="Monotype Corsiva" pitchFamily="66" charset="0"/>
              </a:rPr>
              <a:t>кто  не умеет учиться,  разучиваться и переучиваться</a:t>
            </a:r>
          </a:p>
          <a:p>
            <a:pPr indent="-342900" algn="r"/>
            <a:r>
              <a:rPr lang="ru-RU" sz="4800" b="1" i="1" dirty="0" err="1" smtClean="0">
                <a:solidFill>
                  <a:srgbClr val="FF0000"/>
                </a:solidFill>
                <a:latin typeface="Monotype Corsiva" pitchFamily="66" charset="0"/>
              </a:rPr>
              <a:t>Элвин</a:t>
            </a:r>
            <a:r>
              <a:rPr lang="ru-RU" sz="4800" b="1" i="1" dirty="0" smtClean="0">
                <a:solidFill>
                  <a:srgbClr val="FF0000"/>
                </a:solidFill>
                <a:latin typeface="Monotype Corsiva" pitchFamily="66" charset="0"/>
              </a:rPr>
              <a:t> </a:t>
            </a:r>
            <a:r>
              <a:rPr lang="ru-RU" sz="4800" b="1" i="1" dirty="0" err="1" smtClean="0">
                <a:solidFill>
                  <a:srgbClr val="FF0000"/>
                </a:solidFill>
                <a:latin typeface="Monotype Corsiva" pitchFamily="66" charset="0"/>
              </a:rPr>
              <a:t>Тоффлер</a:t>
            </a:r>
            <a:endParaRPr lang="ru-RU" sz="3200" i="1" dirty="0">
              <a:solidFill>
                <a:srgbClr val="FF0000"/>
              </a:solidFill>
              <a:latin typeface="Monotype Corsiva" pitchFamily="66" charset="0"/>
            </a:endParaRPr>
          </a:p>
        </p:txBody>
      </p:sp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72008" y="0"/>
            <a:ext cx="827584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13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14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5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7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8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19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0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6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7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8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9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1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2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1000"/>
                                        <p:tgtEl>
                                          <p:spTgt spid="440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1000"/>
                                        <p:tgtEl>
                                          <p:spTgt spid="440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000"/>
                            </p:stCondLst>
                            <p:childTnLst>
                              <p:par>
                                <p:cTn id="1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1000"/>
                                        <p:tgtEl>
                                          <p:spTgt spid="440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-36512" y="0"/>
            <a:ext cx="936104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58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59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0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4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5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2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3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6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7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6" name="Заголовок 25"/>
          <p:cNvSpPr>
            <a:spLocks noGrp="1"/>
          </p:cNvSpPr>
          <p:nvPr>
            <p:ph type="ctrTitle"/>
          </p:nvPr>
        </p:nvSpPr>
        <p:spPr>
          <a:xfrm>
            <a:off x="3563888" y="72009"/>
            <a:ext cx="4248472" cy="1124743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Обо всём понемногу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0" name="Подзаголовок 29"/>
          <p:cNvSpPr>
            <a:spLocks noGrp="1"/>
          </p:cNvSpPr>
          <p:nvPr>
            <p:ph type="subTitle" idx="1"/>
          </p:nvPr>
        </p:nvSpPr>
        <p:spPr>
          <a:xfrm>
            <a:off x="971600" y="1916832"/>
            <a:ext cx="7632848" cy="3816424"/>
          </a:xfrm>
        </p:spPr>
        <p:txBody>
          <a:bodyPr>
            <a:noAutofit/>
          </a:bodyPr>
          <a:lstStyle/>
          <a:p>
            <a:r>
              <a:rPr lang="ru-RU" sz="3600" b="1" i="1" dirty="0" smtClean="0">
                <a:solidFill>
                  <a:schemeClr val="accent1">
                    <a:lumMod val="75000"/>
                  </a:schemeClr>
                </a:solidFill>
              </a:rPr>
              <a:t>Нам говорят: безумец и фантаст.</a:t>
            </a:r>
          </a:p>
          <a:p>
            <a:r>
              <a:rPr lang="ru-RU" sz="3600" b="1" i="1" dirty="0" smtClean="0">
                <a:solidFill>
                  <a:schemeClr val="accent1">
                    <a:lumMod val="75000"/>
                  </a:schemeClr>
                </a:solidFill>
              </a:rPr>
              <a:t>Но, выйдя  из зависимости грустной,</a:t>
            </a:r>
          </a:p>
          <a:p>
            <a:r>
              <a:rPr lang="ru-RU" sz="3600" b="1" i="1" dirty="0" smtClean="0">
                <a:solidFill>
                  <a:schemeClr val="accent1">
                    <a:lumMod val="75000"/>
                  </a:schemeClr>
                </a:solidFill>
              </a:rPr>
              <a:t>С годами мозг мыслителя искусный</a:t>
            </a:r>
          </a:p>
          <a:p>
            <a:r>
              <a:rPr lang="ru-RU" sz="3600" b="1" i="1" dirty="0" smtClean="0">
                <a:solidFill>
                  <a:schemeClr val="accent1">
                    <a:lumMod val="75000"/>
                  </a:schemeClr>
                </a:solidFill>
              </a:rPr>
              <a:t>Мыслителя искусного создаст.</a:t>
            </a:r>
          </a:p>
          <a:p>
            <a:pPr algn="r"/>
            <a:r>
              <a:rPr lang="ru-RU" sz="3600" b="1" i="1" dirty="0" smtClean="0">
                <a:solidFill>
                  <a:srgbClr val="FF0000"/>
                </a:solidFill>
              </a:rPr>
              <a:t>И.Гёте</a:t>
            </a:r>
            <a:r>
              <a:rPr lang="ru-RU" sz="3600" b="1" i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ru-RU" sz="36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6" dur="20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000"/>
                            </p:stCondLst>
                            <p:childTnLst>
                              <p:par>
                                <p:cTn id="18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0" dur="2000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0"/>
                            </p:stCondLst>
                            <p:childTnLst>
                              <p:par>
                                <p:cTn id="22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4" dur="2000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000"/>
                            </p:stCondLst>
                            <p:childTnLst>
                              <p:par>
                                <p:cTn id="26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8" dur="2000"/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9000"/>
                            </p:stCondLst>
                            <p:childTnLst>
                              <p:par>
                                <p:cTn id="30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2000"/>
                                        <p:tgtEl>
                                          <p:spTgt spid="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30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144016" y="0"/>
            <a:ext cx="827584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58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59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0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4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5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2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3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6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7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6" name="Прямоугольник 25"/>
          <p:cNvSpPr/>
          <p:nvPr/>
        </p:nvSpPr>
        <p:spPr>
          <a:xfrm>
            <a:off x="1043608" y="0"/>
            <a:ext cx="75608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формационные технологии</a:t>
            </a:r>
          </a:p>
          <a:p>
            <a:r>
              <a:rPr lang="ru-RU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в учебном процессе</a:t>
            </a:r>
            <a:endParaRPr lang="ru-RU" sz="36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71600" y="1340768"/>
            <a:ext cx="561662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 smtClean="0"/>
              <a:t>Бл. Сендов 1980-е гг.: Модель учебного </a:t>
            </a:r>
          </a:p>
          <a:p>
            <a:pPr>
              <a:defRPr/>
            </a:pPr>
            <a:r>
              <a:rPr lang="ru-RU" sz="2400" b="1" dirty="0" smtClean="0"/>
              <a:t>процесса для ученика с компьютером.</a:t>
            </a:r>
          </a:p>
          <a:p>
            <a:pPr>
              <a:defRPr/>
            </a:pPr>
            <a:r>
              <a:rPr lang="ru-RU" sz="2400" b="1" dirty="0" smtClean="0"/>
              <a:t>    Уже тогда – ученик с калькулятором.</a:t>
            </a:r>
          </a:p>
          <a:p>
            <a:pPr>
              <a:defRPr/>
            </a:pPr>
            <a:r>
              <a:rPr lang="ru-RU" sz="2400" b="1" dirty="0" smtClean="0"/>
              <a:t>До этого – ученик с телевизором, </a:t>
            </a:r>
          </a:p>
          <a:p>
            <a:pPr>
              <a:defRPr/>
            </a:pPr>
            <a:r>
              <a:rPr lang="ru-RU" sz="2400" b="1" dirty="0" smtClean="0"/>
              <a:t>магнитофоном.</a:t>
            </a:r>
          </a:p>
          <a:p>
            <a:pPr>
              <a:defRPr/>
            </a:pPr>
            <a:r>
              <a:rPr lang="ru-RU" sz="2400" b="1" dirty="0" smtClean="0"/>
              <a:t>    Еще раньше – ученик с </a:t>
            </a:r>
            <a:r>
              <a:rPr lang="ru-RU" sz="2400" b="1" dirty="0" smtClean="0"/>
              <a:t>фотоаппаратом  </a:t>
            </a:r>
            <a:r>
              <a:rPr lang="ru-RU" sz="2400" b="1" dirty="0" smtClean="0"/>
              <a:t>и радиоприемником.</a:t>
            </a:r>
          </a:p>
          <a:p>
            <a:pPr>
              <a:defRPr/>
            </a:pPr>
            <a:r>
              <a:rPr lang="ru-RU" sz="2400" b="1" dirty="0" smtClean="0"/>
              <a:t>    Еще раньше – ученик с</a:t>
            </a:r>
          </a:p>
          <a:p>
            <a:pPr>
              <a:defRPr/>
            </a:pPr>
            <a:r>
              <a:rPr lang="ru-RU" sz="2400" b="1" dirty="0" smtClean="0"/>
              <a:t> естественно-научной  лабораторией.</a:t>
            </a:r>
          </a:p>
          <a:p>
            <a:pPr>
              <a:defRPr/>
            </a:pPr>
            <a:r>
              <a:rPr lang="ru-RU" sz="2400" b="1" dirty="0" smtClean="0"/>
              <a:t>       Еще раньше – ученик с книгой: учебником, атласом, словарем, энциклопедией.</a:t>
            </a:r>
          </a:p>
        </p:txBody>
      </p:sp>
      <p:pic>
        <p:nvPicPr>
          <p:cNvPr id="1026" name="Picture 2" descr="C:\Users\МИГ\Desktop\Шаблон\загруженное (2)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08304" y="1124744"/>
            <a:ext cx="1835696" cy="2448272"/>
          </a:xfrm>
          <a:prstGeom prst="rect">
            <a:avLst/>
          </a:prstGeom>
          <a:ln>
            <a:noFill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190500" algn="tl" rotWithShape="0">
              <a:srgbClr val="000000">
                <a:alpha val="70000"/>
              </a:srgbClr>
            </a:outerShdw>
            <a:softEdge rad="127000"/>
          </a:effectLst>
        </p:spPr>
      </p:pic>
      <p:pic>
        <p:nvPicPr>
          <p:cNvPr id="1027" name="Picture 3" descr="C:\Users\МИГ\Desktop\images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00925" y="1196752"/>
            <a:ext cx="1743075" cy="2403351"/>
          </a:xfrm>
          <a:prstGeom prst="rect">
            <a:avLst/>
          </a:prstGeom>
          <a:noFill/>
        </p:spPr>
      </p:pic>
      <p:pic>
        <p:nvPicPr>
          <p:cNvPr id="1028" name="Picture 4" descr="C:\Users\МИГ\Desktop\images (1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24737" y="1124744"/>
            <a:ext cx="2483767" cy="2448272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029" name="Picture 5" descr="C:\Users\МИГ\Desktop\images (2)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88224" y="1124744"/>
            <a:ext cx="2483768" cy="2448272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032" name="Picture 8" descr="C:\Users\МИГ\Desktop\images (6)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624736" y="980728"/>
            <a:ext cx="2411760" cy="2664297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  <p:pic>
        <p:nvPicPr>
          <p:cNvPr id="1033" name="Picture 9" descr="C:\Users\МИГ\Desktop\images (3)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39470" y="1138287"/>
            <a:ext cx="2581275" cy="252028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 tmFilter="0,0; .5, 1; 1, 1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100"/>
                            </p:stCondLst>
                            <p:childTnLst>
                              <p:par>
                                <p:cTn id="27" presetID="4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 tmFilter="0,0; .5, 1; 1, 1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6100"/>
                            </p:stCondLst>
                            <p:childTnLst>
                              <p:par>
                                <p:cTn id="38" presetID="4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 tmFilter="0,0; .5, 1; 1, 1"/>
                                        <p:tgtEl>
                                          <p:spTgt spid="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8100"/>
                            </p:stCondLst>
                            <p:childTnLst>
                              <p:par>
                                <p:cTn id="49" presetID="4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 tmFilter="0,0; .5, 1; 1, 1"/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9900"/>
                            </p:stCondLst>
                            <p:childTnLst>
                              <p:par>
                                <p:cTn id="57" presetID="4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 tmFilter="0,0; .5, 1; 1, 1"/>
                                        <p:tgtEl>
                                          <p:spTgt spid="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6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1900"/>
                            </p:stCondLst>
                            <p:childTnLst>
                              <p:par>
                                <p:cTn id="68" presetID="4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 tmFilter="0,0; .5, 1; 1, 1"/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2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4700"/>
                            </p:stCondLst>
                            <p:childTnLst>
                              <p:par>
                                <p:cTn id="79" presetID="4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 tmFilter="0,0; .5, 1; 1, 1"/>
                                        <p:tgtEl>
                                          <p:spTgt spid="2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6000"/>
                            </p:stCondLst>
                            <p:childTnLst>
                              <p:par>
                                <p:cTn id="87" presetID="4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 tmFilter="0,0; .5, 1; 1, 1"/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6" dur="2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8050"/>
                            </p:stCondLst>
                            <p:childTnLst>
                              <p:par>
                                <p:cTn id="98" presetID="4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 tmFilter="0,0; .5, 1; 1, 1"/>
                                        <p:tgtEl>
                                          <p:spTgt spid="2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21750"/>
                            </p:stCondLst>
                            <p:childTnLst>
                              <p:par>
                                <p:cTn id="106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8" dur="20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35496" y="0"/>
            <a:ext cx="827584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58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59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0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4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5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2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3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6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7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28" name="Прямоугольник 27"/>
          <p:cNvSpPr/>
          <p:nvPr/>
        </p:nvSpPr>
        <p:spPr>
          <a:xfrm>
            <a:off x="899592" y="139279"/>
            <a:ext cx="781976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формационная революция?</a:t>
            </a:r>
            <a:endParaRPr lang="ru-RU" sz="4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187624" y="980728"/>
            <a:ext cx="7344816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Ø"/>
              <a:defRPr/>
            </a:pPr>
            <a:r>
              <a:rPr lang="ru-RU" sz="2800" b="1" i="1" dirty="0" smtClean="0">
                <a:solidFill>
                  <a:schemeClr val="tx2"/>
                </a:solidFill>
              </a:rPr>
              <a:t>Сегодня </a:t>
            </a:r>
            <a:r>
              <a:rPr lang="ru-RU" sz="2800" b="1" dirty="0" smtClean="0">
                <a:solidFill>
                  <a:schemeClr val="tx2"/>
                </a:solidFill>
              </a:rPr>
              <a:t>– ученик с сотовым телефоном, компьютером в кубике ЛЕГО, цифровым микроскопом.</a:t>
            </a:r>
          </a:p>
          <a:p>
            <a:pPr>
              <a:defRPr/>
            </a:pPr>
            <a:endParaRPr lang="ru-RU" sz="2800" b="1" dirty="0" smtClean="0">
              <a:solidFill>
                <a:schemeClr val="tx2"/>
              </a:solidFill>
            </a:endParaRPr>
          </a:p>
          <a:p>
            <a:pPr>
              <a:defRPr/>
            </a:pPr>
            <a:endParaRPr lang="ru-RU" sz="2800" b="1" dirty="0" smtClean="0">
              <a:solidFill>
                <a:schemeClr val="tx2"/>
              </a:solidFill>
            </a:endParaRPr>
          </a:p>
          <a:p>
            <a:pPr>
              <a:defRPr/>
            </a:pPr>
            <a:endParaRPr lang="ru-RU" sz="2800" b="1" dirty="0" smtClean="0">
              <a:solidFill>
                <a:schemeClr val="tx2"/>
              </a:solidFill>
            </a:endParaRPr>
          </a:p>
          <a:p>
            <a:pPr>
              <a:defRPr/>
            </a:pPr>
            <a:endParaRPr lang="ru-RU" sz="2800" b="1" dirty="0" smtClean="0">
              <a:solidFill>
                <a:schemeClr val="tx2"/>
              </a:solidFill>
            </a:endParaRPr>
          </a:p>
          <a:p>
            <a:pPr>
              <a:defRPr/>
            </a:pPr>
            <a:endParaRPr lang="ru-RU" sz="2800" b="1" dirty="0" smtClean="0">
              <a:solidFill>
                <a:schemeClr val="tx2"/>
              </a:solidFill>
            </a:endParaRPr>
          </a:p>
          <a:p>
            <a:pPr>
              <a:buFont typeface="Wingdings" pitchFamily="2" charset="2"/>
              <a:buChar char="Ø"/>
              <a:defRPr/>
            </a:pPr>
            <a:r>
              <a:rPr lang="ru-RU" sz="2800" b="1" i="1" dirty="0" smtClean="0">
                <a:solidFill>
                  <a:schemeClr val="tx2"/>
                </a:solidFill>
              </a:rPr>
              <a:t>Завтра </a:t>
            </a:r>
            <a:r>
              <a:rPr lang="ru-RU" sz="2800" b="1" u="sng" dirty="0" smtClean="0">
                <a:solidFill>
                  <a:schemeClr val="tx2"/>
                </a:solidFill>
              </a:rPr>
              <a:t>(уже сегодня</a:t>
            </a:r>
            <a:r>
              <a:rPr lang="ru-RU" sz="2800" b="1" dirty="0" smtClean="0">
                <a:solidFill>
                  <a:schemeClr val="tx2"/>
                </a:solidFill>
              </a:rPr>
              <a:t>) – полная ОС в сотовом телефоне, аккордная клавиатура, распознавание  звуков, цифровые </a:t>
            </a:r>
          </a:p>
          <a:p>
            <a:pPr>
              <a:defRPr/>
            </a:pPr>
            <a:r>
              <a:rPr lang="ru-RU" sz="2800" b="1" dirty="0" smtClean="0">
                <a:solidFill>
                  <a:schemeClr val="tx2"/>
                </a:solidFill>
              </a:rPr>
              <a:t>датчики   и т.д.</a:t>
            </a:r>
          </a:p>
        </p:txBody>
      </p:sp>
      <p:pic>
        <p:nvPicPr>
          <p:cNvPr id="1028" name="Picture 4" descr="C:\Users\МИГ\Desktop\images (5)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47664" y="2492896"/>
            <a:ext cx="2880320" cy="180020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026" name="Picture 2" descr="C:\Users\МИГ\Desktop\Шаблон\Картинки отработано\images (4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20977" y="2449438"/>
            <a:ext cx="2907407" cy="1771650"/>
          </a:xfrm>
          <a:prstGeom prst="round2DiagRect">
            <a:avLst>
              <a:gd name="adj1" fmla="val 0"/>
              <a:gd name="adj2" fmla="val 18768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 tmFilter="0,0; .5, 1; 1, 1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650"/>
                            </p:stCondLst>
                            <p:childTnLst>
                              <p:par>
                                <p:cTn id="1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20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650"/>
                            </p:stCondLst>
                            <p:childTnLst>
                              <p:par>
                                <p:cTn id="2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20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6650"/>
                            </p:stCondLst>
                            <p:childTnLst>
                              <p:par>
                                <p:cTn id="27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2000"/>
                                        <p:tgtEl>
                                          <p:spTgt spid="2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8650"/>
                            </p:stCondLst>
                            <p:childTnLst>
                              <p:par>
                                <p:cTn id="31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2000"/>
                                        <p:tgtEl>
                                          <p:spTgt spid="2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650"/>
                            </p:stCondLst>
                            <p:childTnLst>
                              <p:par>
                                <p:cTn id="3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print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1"/>
          <p:cNvSpPr>
            <a:spLocks noGrp="1"/>
          </p:cNvSpPr>
          <p:nvPr>
            <p:ph type="title"/>
          </p:nvPr>
        </p:nvSpPr>
        <p:spPr>
          <a:xfrm>
            <a:off x="467544" y="95542"/>
            <a:ext cx="8229600" cy="1317234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002060"/>
                </a:solidFill>
              </a:rPr>
              <a:t> Г</a:t>
            </a: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ТОВОГО БУДУЩЕГО НЕТ:</a:t>
            </a:r>
            <a:b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         ЕГО СТРОИМ МЫ САМИ</a:t>
            </a:r>
            <a:b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sz="3600" b="1" dirty="0">
              <a:solidFill>
                <a:srgbClr val="002060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43808" y="1126786"/>
            <a:ext cx="5688632" cy="251823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73462" tIns="73462" rIns="73462" bIns="73462">
            <a:spAutoFit/>
          </a:bodyPr>
          <a:lstStyle/>
          <a:p>
            <a:pPr algn="just" defTabSz="913526">
              <a:spcBef>
                <a:spcPct val="30000"/>
              </a:spcBef>
              <a:spcAft>
                <a:spcPct val="30000"/>
              </a:spcAft>
              <a:buSzPct val="120000"/>
              <a:defRPr/>
            </a:pPr>
            <a:r>
              <a:rPr lang="ru-RU" sz="2200" b="1" dirty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«</a:t>
            </a:r>
            <a:r>
              <a:rPr lang="ru-RU" sz="2200" b="1" dirty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cs typeface="Arial" pitchFamily="34" charset="0"/>
              </a:rPr>
              <a:t>Современный учебный процесс, </a:t>
            </a:r>
            <a:r>
              <a:rPr lang="en-US" sz="2200" b="1" dirty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cs typeface="Arial" pitchFamily="34" charset="0"/>
              </a:rPr>
              <a:t/>
            </a:r>
            <a:br>
              <a:rPr lang="en-US" sz="2200" b="1" dirty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cs typeface="Arial" pitchFamily="34" charset="0"/>
              </a:rPr>
            </a:br>
            <a:r>
              <a:rPr lang="ru-RU" sz="2200" b="1" dirty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cs typeface="Arial" pitchFamily="34" charset="0"/>
              </a:rPr>
              <a:t>протекающий в условиях информатизации </a:t>
            </a:r>
            <a:r>
              <a:rPr lang="ru-RU" sz="2200" b="1" dirty="0" smtClean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cs typeface="Arial" pitchFamily="34" charset="0"/>
              </a:rPr>
              <a:t> и </a:t>
            </a:r>
            <a:r>
              <a:rPr lang="ru-RU" sz="2200" b="1" dirty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cs typeface="Arial" pitchFamily="34" charset="0"/>
              </a:rPr>
              <a:t>массовой коммуникации всех сфер </a:t>
            </a:r>
            <a:r>
              <a:rPr lang="ru-RU" sz="2200" b="1" dirty="0" smtClean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cs typeface="Arial" pitchFamily="34" charset="0"/>
              </a:rPr>
              <a:t>  </a:t>
            </a:r>
            <a:r>
              <a:rPr lang="ru-RU" sz="2200" b="1" dirty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cs typeface="Arial" pitchFamily="34" charset="0"/>
              </a:rPr>
              <a:t>жизни, требует существенного расширения арсенала средств обучения</a:t>
            </a:r>
            <a:r>
              <a:rPr lang="ru-RU" sz="2200" b="1" dirty="0">
                <a:solidFill>
                  <a:schemeClr val="bg2">
                    <a:lumMod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»</a:t>
            </a: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3635896" y="3645024"/>
            <a:ext cx="3089275" cy="622300"/>
          </a:xfrm>
          <a:prstGeom prst="downArrow">
            <a:avLst>
              <a:gd name="adj1" fmla="val 82657"/>
              <a:gd name="adj2" fmla="val 39583"/>
            </a:avLst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ЗАДАЧА</a:t>
            </a:r>
            <a:r>
              <a:rPr lang="ru-RU" sz="1600" dirty="0">
                <a:solidFill>
                  <a:schemeClr val="bg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</a:p>
        </p:txBody>
      </p:sp>
      <p:sp>
        <p:nvSpPr>
          <p:cNvPr id="11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87624" y="4488999"/>
            <a:ext cx="6624637" cy="1604297"/>
          </a:xfrm>
          <a:prstGeom prst="roundRect">
            <a:avLst>
              <a:gd name="adj" fmla="val 21502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183654" tIns="73462" rIns="73462" bIns="73462">
            <a:spAutoFit/>
          </a:bodyPr>
          <a:lstStyle/>
          <a:p>
            <a:pPr algn="ctr" defTabSz="912813"/>
            <a:r>
              <a:rPr lang="ru-RU" sz="2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Обеспечить масштабное внедрение электронных образовательных </a:t>
            </a:r>
            <a:r>
              <a:rPr lang="ru-RU" sz="22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коммуникационных технологий </a:t>
            </a:r>
            <a:r>
              <a:rPr lang="ru-RU" sz="2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в учебный процесс</a:t>
            </a:r>
          </a:p>
        </p:txBody>
      </p:sp>
      <p:pic>
        <p:nvPicPr>
          <p:cNvPr id="1026" name="Picture 2" descr="C:\Users\МИГ\Desktop\images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3608" y="1124744"/>
            <a:ext cx="1809750" cy="25241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13" name="Group 29"/>
          <p:cNvGrpSpPr>
            <a:grpSpLocks/>
          </p:cNvGrpSpPr>
          <p:nvPr/>
        </p:nvGrpSpPr>
        <p:grpSpPr bwMode="auto">
          <a:xfrm>
            <a:off x="-36512" y="0"/>
            <a:ext cx="864096" cy="6858000"/>
            <a:chOff x="205" y="1"/>
            <a:chExt cx="406" cy="3836"/>
          </a:xfrm>
        </p:grpSpPr>
        <p:grpSp>
          <p:nvGrpSpPr>
            <p:cNvPr id="14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22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23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4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6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7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8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29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15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6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7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8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19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20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21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0055539"/>
      </p:ext>
    </p:extLst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229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effectLst/>
              </a:rPr>
              <a:t> </a:t>
            </a:r>
            <a:endParaRPr lang="en-US" b="1" dirty="0">
              <a:effectLst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4932040" y="2060848"/>
            <a:ext cx="20882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cap="all" dirty="0" smtClean="0">
                <a:ln/>
                <a:solidFill>
                  <a:srgbClr val="B5741D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ЗНАНИЯ</a:t>
            </a:r>
            <a:endParaRPr lang="ru-RU" sz="3600" b="1" cap="all" dirty="0">
              <a:ln/>
              <a:solidFill>
                <a:srgbClr val="B5741D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516216" y="4941168"/>
            <a:ext cx="2016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cap="all" dirty="0" smtClean="0">
                <a:ln/>
                <a:solidFill>
                  <a:srgbClr val="00B05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УМЕНИЯ</a:t>
            </a:r>
            <a:endParaRPr lang="ru-RU" sz="3600" dirty="0">
              <a:solidFill>
                <a:srgbClr val="00B050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683568" y="5301208"/>
            <a:ext cx="23762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cap="all" dirty="0" smtClean="0">
                <a:ln/>
                <a:solidFill>
                  <a:srgbClr val="00B0F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  <a:reflection blurRad="10000" stA="55000" endPos="48000" dist="500" dir="5400000" sy="-100000" algn="bl" rotWithShape="0"/>
                </a:effectLst>
              </a:rPr>
              <a:t>НАВЫКИ</a:t>
            </a:r>
            <a:endParaRPr lang="ru-RU" sz="3600" b="1" cap="all" dirty="0">
              <a:ln/>
              <a:solidFill>
                <a:srgbClr val="00B0F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  <a:reflection blurRad="10000" stA="55000" endPos="48000" dist="500" dir="5400000" sy="-100000" algn="bl" rotWithShape="0"/>
              </a:effectLst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1187624" y="0"/>
            <a:ext cx="7344816" cy="1844824"/>
          </a:xfrm>
          <a:prstGeom prst="rect">
            <a:avLst/>
          </a:prstGeom>
        </p:spPr>
        <p:txBody>
          <a:bodyPr wrap="square">
            <a:prstTxWarp prst="textCurveDown">
              <a:avLst/>
            </a:prstTxWarp>
            <a:spAutoFit/>
          </a:bodyPr>
          <a:lstStyle/>
          <a:p>
            <a:r>
              <a:rPr lang="ru-RU" sz="4800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60000"/>
                    </a:schemeClr>
                  </a:glow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Как учили вчера</a:t>
            </a:r>
            <a:r>
              <a:rPr lang="en-US" sz="4800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60000"/>
                    </a:schemeClr>
                  </a:glow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?</a:t>
            </a:r>
            <a:r>
              <a:rPr lang="ru-RU" sz="4800" b="1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glow rad="101600">
                    <a:schemeClr val="accent1">
                      <a:lumMod val="60000"/>
                      <a:lumOff val="40000"/>
                      <a:alpha val="60000"/>
                    </a:schemeClr>
                  </a:glow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 </a:t>
            </a:r>
            <a:endParaRPr lang="ru-RU" sz="4800" dirty="0">
              <a:solidFill>
                <a:schemeClr val="tx2"/>
              </a:solidFill>
              <a:effectLst>
                <a:glow rad="101600">
                  <a:schemeClr val="accent1">
                    <a:lumMod val="60000"/>
                    <a:lumOff val="40000"/>
                    <a:alpha val="60000"/>
                  </a:schemeClr>
                </a:glow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grpSp>
        <p:nvGrpSpPr>
          <p:cNvPr id="57" name="Group 29"/>
          <p:cNvGrpSpPr>
            <a:grpSpLocks/>
          </p:cNvGrpSpPr>
          <p:nvPr/>
        </p:nvGrpSpPr>
        <p:grpSpPr bwMode="auto">
          <a:xfrm>
            <a:off x="35496" y="0"/>
            <a:ext cx="792088" cy="6858000"/>
            <a:chOff x="205" y="1"/>
            <a:chExt cx="406" cy="3836"/>
          </a:xfrm>
        </p:grpSpPr>
        <p:grpSp>
          <p:nvGrpSpPr>
            <p:cNvPr id="58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66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67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8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9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70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71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72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73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9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60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61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62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63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64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65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grpSp>
        <p:nvGrpSpPr>
          <p:cNvPr id="45" name="Group 3"/>
          <p:cNvGrpSpPr>
            <a:grpSpLocks/>
          </p:cNvGrpSpPr>
          <p:nvPr/>
        </p:nvGrpSpPr>
        <p:grpSpPr bwMode="auto">
          <a:xfrm rot="14433734">
            <a:off x="2410824" y="2768628"/>
            <a:ext cx="3954463" cy="3694113"/>
            <a:chOff x="1655" y="1647"/>
            <a:chExt cx="2490" cy="2327"/>
          </a:xfrm>
        </p:grpSpPr>
        <p:sp>
          <p:nvSpPr>
            <p:cNvPr id="46" name="Freeform 4"/>
            <p:cNvSpPr>
              <a:spLocks/>
            </p:cNvSpPr>
            <p:nvPr/>
          </p:nvSpPr>
          <p:spPr bwMode="gray">
            <a:xfrm>
              <a:off x="1660" y="2336"/>
              <a:ext cx="912" cy="1231"/>
            </a:xfrm>
            <a:custGeom>
              <a:avLst/>
              <a:gdLst/>
              <a:ahLst/>
              <a:cxnLst>
                <a:cxn ang="0">
                  <a:pos x="1233" y="343"/>
                </a:cxn>
                <a:cxn ang="0">
                  <a:pos x="413" y="1764"/>
                </a:cxn>
                <a:cxn ang="0">
                  <a:pos x="0" y="1226"/>
                </a:cxn>
                <a:cxn ang="0">
                  <a:pos x="6" y="1098"/>
                </a:cxn>
                <a:cxn ang="0">
                  <a:pos x="638" y="0"/>
                </a:cxn>
                <a:cxn ang="0">
                  <a:pos x="1233" y="343"/>
                </a:cxn>
                <a:cxn ang="0">
                  <a:pos x="1233" y="343"/>
                </a:cxn>
              </a:cxnLst>
              <a:rect l="0" t="0" r="r" b="b"/>
              <a:pathLst>
                <a:path w="1233" h="1764">
                  <a:moveTo>
                    <a:pt x="1233" y="343"/>
                  </a:moveTo>
                  <a:lnTo>
                    <a:pt x="413" y="1764"/>
                  </a:lnTo>
                  <a:lnTo>
                    <a:pt x="0" y="1226"/>
                  </a:lnTo>
                  <a:lnTo>
                    <a:pt x="6" y="1098"/>
                  </a:lnTo>
                  <a:lnTo>
                    <a:pt x="638" y="0"/>
                  </a:lnTo>
                  <a:lnTo>
                    <a:pt x="1233" y="343"/>
                  </a:lnTo>
                  <a:lnTo>
                    <a:pt x="1233" y="343"/>
                  </a:lnTo>
                  <a:close/>
                </a:path>
              </a:pathLst>
            </a:custGeom>
            <a:gradFill rotWithShape="0">
              <a:gsLst>
                <a:gs pos="0">
                  <a:srgbClr val="00CC99"/>
                </a:gs>
                <a:gs pos="100000">
                  <a:srgbClr val="00CC99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47" name="Freeform 5"/>
            <p:cNvSpPr>
              <a:spLocks/>
            </p:cNvSpPr>
            <p:nvPr/>
          </p:nvSpPr>
          <p:spPr bwMode="gray">
            <a:xfrm rot="7200000">
              <a:off x="2726" y="1655"/>
              <a:ext cx="860" cy="1305"/>
            </a:xfrm>
            <a:custGeom>
              <a:avLst/>
              <a:gdLst/>
              <a:ahLst/>
              <a:cxnLst>
                <a:cxn ang="0">
                  <a:pos x="1233" y="343"/>
                </a:cxn>
                <a:cxn ang="0">
                  <a:pos x="413" y="1764"/>
                </a:cxn>
                <a:cxn ang="0">
                  <a:pos x="0" y="1226"/>
                </a:cxn>
                <a:cxn ang="0">
                  <a:pos x="6" y="1098"/>
                </a:cxn>
                <a:cxn ang="0">
                  <a:pos x="638" y="0"/>
                </a:cxn>
                <a:cxn ang="0">
                  <a:pos x="1233" y="343"/>
                </a:cxn>
                <a:cxn ang="0">
                  <a:pos x="1233" y="343"/>
                </a:cxn>
              </a:cxnLst>
              <a:rect l="0" t="0" r="r" b="b"/>
              <a:pathLst>
                <a:path w="1233" h="1764">
                  <a:moveTo>
                    <a:pt x="1233" y="343"/>
                  </a:moveTo>
                  <a:lnTo>
                    <a:pt x="413" y="1764"/>
                  </a:lnTo>
                  <a:lnTo>
                    <a:pt x="0" y="1226"/>
                  </a:lnTo>
                  <a:lnTo>
                    <a:pt x="6" y="1098"/>
                  </a:lnTo>
                  <a:lnTo>
                    <a:pt x="638" y="0"/>
                  </a:lnTo>
                  <a:lnTo>
                    <a:pt x="1233" y="343"/>
                  </a:lnTo>
                  <a:lnTo>
                    <a:pt x="1233" y="343"/>
                  </a:lnTo>
                  <a:close/>
                </a:path>
              </a:pathLst>
            </a:custGeom>
            <a:gradFill rotWithShape="0">
              <a:gsLst>
                <a:gs pos="0">
                  <a:srgbClr val="00CCFF">
                    <a:gamma/>
                    <a:shade val="46275"/>
                    <a:invGamma/>
                  </a:srgbClr>
                </a:gs>
                <a:gs pos="100000">
                  <a:srgbClr val="00CCFF"/>
                </a:gs>
              </a:gsLst>
              <a:lin ang="54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48" name="Group 6"/>
            <p:cNvGrpSpPr>
              <a:grpSpLocks/>
            </p:cNvGrpSpPr>
            <p:nvPr/>
          </p:nvGrpSpPr>
          <p:grpSpPr bwMode="auto">
            <a:xfrm>
              <a:off x="1712" y="1647"/>
              <a:ext cx="1480" cy="1302"/>
              <a:chOff x="1712" y="1389"/>
              <a:chExt cx="1480" cy="1302"/>
            </a:xfrm>
          </p:grpSpPr>
          <p:sp>
            <p:nvSpPr>
              <p:cNvPr id="79" name="AutoShape 7"/>
              <p:cNvSpPr>
                <a:spLocks noChangeArrowheads="1"/>
              </p:cNvSpPr>
              <p:nvPr/>
            </p:nvSpPr>
            <p:spPr bwMode="gray">
              <a:xfrm rot="12600000">
                <a:off x="1712" y="2311"/>
                <a:ext cx="908" cy="380"/>
              </a:xfrm>
              <a:prstGeom prst="triangle">
                <a:avLst>
                  <a:gd name="adj" fmla="val 50000"/>
                </a:avLst>
              </a:prstGeom>
              <a:solidFill>
                <a:srgbClr val="00CCFF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80" name="Freeform 8"/>
              <p:cNvSpPr>
                <a:spLocks/>
              </p:cNvSpPr>
              <p:nvPr/>
            </p:nvSpPr>
            <p:spPr bwMode="gray">
              <a:xfrm rot="7200000">
                <a:off x="1961" y="1810"/>
                <a:ext cx="948" cy="508"/>
              </a:xfrm>
              <a:custGeom>
                <a:avLst/>
                <a:gdLst/>
                <a:ahLst/>
                <a:cxnLst>
                  <a:cxn ang="0">
                    <a:pos x="750" y="0"/>
                  </a:cxn>
                  <a:cxn ang="0">
                    <a:pos x="0" y="0"/>
                  </a:cxn>
                  <a:cxn ang="0">
                    <a:pos x="2" y="194"/>
                  </a:cxn>
                  <a:cxn ang="0">
                    <a:pos x="28" y="378"/>
                  </a:cxn>
                  <a:cxn ang="0">
                    <a:pos x="750" y="378"/>
                  </a:cxn>
                  <a:cxn ang="0">
                    <a:pos x="750" y="0"/>
                  </a:cxn>
                  <a:cxn ang="0">
                    <a:pos x="750" y="0"/>
                  </a:cxn>
                </a:cxnLst>
                <a:rect l="0" t="0" r="r" b="b"/>
                <a:pathLst>
                  <a:path w="750" h="378">
                    <a:moveTo>
                      <a:pt x="750" y="0"/>
                    </a:moveTo>
                    <a:lnTo>
                      <a:pt x="0" y="0"/>
                    </a:lnTo>
                    <a:lnTo>
                      <a:pt x="2" y="194"/>
                    </a:lnTo>
                    <a:lnTo>
                      <a:pt x="28" y="378"/>
                    </a:lnTo>
                    <a:lnTo>
                      <a:pt x="750" y="378"/>
                    </a:lnTo>
                    <a:lnTo>
                      <a:pt x="750" y="0"/>
                    </a:lnTo>
                    <a:lnTo>
                      <a:pt x="750" y="0"/>
                    </a:lnTo>
                    <a:close/>
                  </a:path>
                </a:pathLst>
              </a:custGeom>
              <a:solidFill>
                <a:srgbClr val="00CC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81" name="Freeform 9"/>
              <p:cNvSpPr>
                <a:spLocks/>
              </p:cNvSpPr>
              <p:nvPr/>
            </p:nvSpPr>
            <p:spPr bwMode="gray">
              <a:xfrm rot="7200000">
                <a:off x="2637" y="1226"/>
                <a:ext cx="392" cy="718"/>
              </a:xfrm>
              <a:custGeom>
                <a:avLst/>
                <a:gdLst/>
                <a:ahLst/>
                <a:cxnLst>
                  <a:cxn ang="0">
                    <a:pos x="495" y="285"/>
                  </a:cxn>
                  <a:cxn ang="0">
                    <a:pos x="495" y="971"/>
                  </a:cxn>
                  <a:cxn ang="0">
                    <a:pos x="462" y="964"/>
                  </a:cxn>
                  <a:cxn ang="0">
                    <a:pos x="430" y="953"/>
                  </a:cxn>
                  <a:cxn ang="0">
                    <a:pos x="401" y="931"/>
                  </a:cxn>
                  <a:cxn ang="0">
                    <a:pos x="372" y="898"/>
                  </a:cxn>
                  <a:cxn ang="0">
                    <a:pos x="339" y="855"/>
                  </a:cxn>
                  <a:cxn ang="0">
                    <a:pos x="306" y="801"/>
                  </a:cxn>
                  <a:cxn ang="0">
                    <a:pos x="270" y="732"/>
                  </a:cxn>
                  <a:cxn ang="0">
                    <a:pos x="227" y="648"/>
                  </a:cxn>
                  <a:cxn ang="0">
                    <a:pos x="183" y="554"/>
                  </a:cxn>
                  <a:cxn ang="0">
                    <a:pos x="129" y="438"/>
                  </a:cxn>
                  <a:cxn ang="0">
                    <a:pos x="96" y="369"/>
                  </a:cxn>
                  <a:cxn ang="0">
                    <a:pos x="29" y="211"/>
                  </a:cxn>
                  <a:cxn ang="0">
                    <a:pos x="2" y="127"/>
                  </a:cxn>
                  <a:cxn ang="0">
                    <a:pos x="0" y="60"/>
                  </a:cxn>
                  <a:cxn ang="0">
                    <a:pos x="15" y="0"/>
                  </a:cxn>
                  <a:cxn ang="0">
                    <a:pos x="15" y="43"/>
                  </a:cxn>
                  <a:cxn ang="0">
                    <a:pos x="15" y="72"/>
                  </a:cxn>
                  <a:cxn ang="0">
                    <a:pos x="15" y="99"/>
                  </a:cxn>
                  <a:cxn ang="0">
                    <a:pos x="18" y="126"/>
                  </a:cxn>
                  <a:cxn ang="0">
                    <a:pos x="29" y="162"/>
                  </a:cxn>
                  <a:cxn ang="0">
                    <a:pos x="53" y="198"/>
                  </a:cxn>
                  <a:cxn ang="0">
                    <a:pos x="85" y="231"/>
                  </a:cxn>
                  <a:cxn ang="0">
                    <a:pos x="125" y="260"/>
                  </a:cxn>
                  <a:cxn ang="0">
                    <a:pos x="180" y="278"/>
                  </a:cxn>
                  <a:cxn ang="0">
                    <a:pos x="245" y="282"/>
                  </a:cxn>
                  <a:cxn ang="0">
                    <a:pos x="495" y="285"/>
                  </a:cxn>
                </a:cxnLst>
                <a:rect l="0" t="0" r="r" b="b"/>
                <a:pathLst>
                  <a:path w="495" h="971">
                    <a:moveTo>
                      <a:pt x="495" y="285"/>
                    </a:moveTo>
                    <a:lnTo>
                      <a:pt x="495" y="971"/>
                    </a:lnTo>
                    <a:lnTo>
                      <a:pt x="462" y="964"/>
                    </a:lnTo>
                    <a:lnTo>
                      <a:pt x="430" y="953"/>
                    </a:lnTo>
                    <a:lnTo>
                      <a:pt x="401" y="931"/>
                    </a:lnTo>
                    <a:lnTo>
                      <a:pt x="372" y="898"/>
                    </a:lnTo>
                    <a:lnTo>
                      <a:pt x="339" y="855"/>
                    </a:lnTo>
                    <a:lnTo>
                      <a:pt x="306" y="801"/>
                    </a:lnTo>
                    <a:lnTo>
                      <a:pt x="270" y="732"/>
                    </a:lnTo>
                    <a:lnTo>
                      <a:pt x="227" y="648"/>
                    </a:lnTo>
                    <a:lnTo>
                      <a:pt x="183" y="554"/>
                    </a:lnTo>
                    <a:lnTo>
                      <a:pt x="129" y="438"/>
                    </a:lnTo>
                    <a:lnTo>
                      <a:pt x="96" y="369"/>
                    </a:lnTo>
                    <a:lnTo>
                      <a:pt x="29" y="211"/>
                    </a:lnTo>
                    <a:lnTo>
                      <a:pt x="2" y="127"/>
                    </a:lnTo>
                    <a:lnTo>
                      <a:pt x="0" y="60"/>
                    </a:lnTo>
                    <a:lnTo>
                      <a:pt x="15" y="0"/>
                    </a:lnTo>
                    <a:lnTo>
                      <a:pt x="15" y="43"/>
                    </a:lnTo>
                    <a:lnTo>
                      <a:pt x="15" y="72"/>
                    </a:lnTo>
                    <a:lnTo>
                      <a:pt x="15" y="99"/>
                    </a:lnTo>
                    <a:lnTo>
                      <a:pt x="18" y="126"/>
                    </a:lnTo>
                    <a:lnTo>
                      <a:pt x="29" y="162"/>
                    </a:lnTo>
                    <a:lnTo>
                      <a:pt x="53" y="198"/>
                    </a:lnTo>
                    <a:lnTo>
                      <a:pt x="85" y="231"/>
                    </a:lnTo>
                    <a:lnTo>
                      <a:pt x="125" y="260"/>
                    </a:lnTo>
                    <a:lnTo>
                      <a:pt x="180" y="278"/>
                    </a:lnTo>
                    <a:lnTo>
                      <a:pt x="245" y="282"/>
                    </a:lnTo>
                    <a:lnTo>
                      <a:pt x="495" y="285"/>
                    </a:lnTo>
                    <a:close/>
                  </a:path>
                </a:pathLst>
              </a:custGeom>
              <a:solidFill>
                <a:srgbClr val="00CC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49" name="Freeform 10"/>
            <p:cNvSpPr>
              <a:spLocks/>
            </p:cNvSpPr>
            <p:nvPr/>
          </p:nvSpPr>
          <p:spPr bwMode="gray">
            <a:xfrm rot="14400000">
              <a:off x="2798" y="2823"/>
              <a:ext cx="860" cy="1305"/>
            </a:xfrm>
            <a:custGeom>
              <a:avLst/>
              <a:gdLst/>
              <a:ahLst/>
              <a:cxnLst>
                <a:cxn ang="0">
                  <a:pos x="1233" y="343"/>
                </a:cxn>
                <a:cxn ang="0">
                  <a:pos x="413" y="1764"/>
                </a:cxn>
                <a:cxn ang="0">
                  <a:pos x="0" y="1226"/>
                </a:cxn>
                <a:cxn ang="0">
                  <a:pos x="6" y="1098"/>
                </a:cxn>
                <a:cxn ang="0">
                  <a:pos x="638" y="0"/>
                </a:cxn>
                <a:cxn ang="0">
                  <a:pos x="1233" y="343"/>
                </a:cxn>
                <a:cxn ang="0">
                  <a:pos x="1233" y="343"/>
                </a:cxn>
              </a:cxnLst>
              <a:rect l="0" t="0" r="r" b="b"/>
              <a:pathLst>
                <a:path w="1233" h="1764">
                  <a:moveTo>
                    <a:pt x="1233" y="343"/>
                  </a:moveTo>
                  <a:lnTo>
                    <a:pt x="413" y="1764"/>
                  </a:lnTo>
                  <a:lnTo>
                    <a:pt x="0" y="1226"/>
                  </a:lnTo>
                  <a:lnTo>
                    <a:pt x="6" y="1098"/>
                  </a:lnTo>
                  <a:lnTo>
                    <a:pt x="638" y="0"/>
                  </a:lnTo>
                  <a:lnTo>
                    <a:pt x="1233" y="343"/>
                  </a:lnTo>
                  <a:lnTo>
                    <a:pt x="1233" y="343"/>
                  </a:lnTo>
                  <a:close/>
                </a:path>
              </a:pathLst>
            </a:custGeom>
            <a:gradFill rotWithShape="0">
              <a:gsLst>
                <a:gs pos="0">
                  <a:srgbClr val="FF9900"/>
                </a:gs>
                <a:gs pos="100000">
                  <a:srgbClr val="FF9900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50" name="Group 11"/>
            <p:cNvGrpSpPr>
              <a:grpSpLocks/>
            </p:cNvGrpSpPr>
            <p:nvPr/>
          </p:nvGrpSpPr>
          <p:grpSpPr bwMode="auto">
            <a:xfrm>
              <a:off x="2849" y="2249"/>
              <a:ext cx="1296" cy="1381"/>
              <a:chOff x="2854" y="1996"/>
              <a:chExt cx="1296" cy="1381"/>
            </a:xfrm>
          </p:grpSpPr>
          <p:sp>
            <p:nvSpPr>
              <p:cNvPr id="76" name="AutoShape 12"/>
              <p:cNvSpPr>
                <a:spLocks noChangeArrowheads="1"/>
              </p:cNvSpPr>
              <p:nvPr/>
            </p:nvSpPr>
            <p:spPr bwMode="gray">
              <a:xfrm rot="19800000">
                <a:off x="2854" y="1996"/>
                <a:ext cx="906" cy="380"/>
              </a:xfrm>
              <a:prstGeom prst="triangle">
                <a:avLst>
                  <a:gd name="adj" fmla="val 50000"/>
                </a:avLst>
              </a:prstGeom>
              <a:solidFill>
                <a:srgbClr val="FF9900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7" name="Freeform 13"/>
              <p:cNvSpPr>
                <a:spLocks/>
              </p:cNvSpPr>
              <p:nvPr/>
            </p:nvSpPr>
            <p:spPr bwMode="gray">
              <a:xfrm rot="14400000">
                <a:off x="3102" y="2371"/>
                <a:ext cx="948" cy="507"/>
              </a:xfrm>
              <a:custGeom>
                <a:avLst/>
                <a:gdLst/>
                <a:ahLst/>
                <a:cxnLst>
                  <a:cxn ang="0">
                    <a:pos x="750" y="0"/>
                  </a:cxn>
                  <a:cxn ang="0">
                    <a:pos x="0" y="0"/>
                  </a:cxn>
                  <a:cxn ang="0">
                    <a:pos x="2" y="194"/>
                  </a:cxn>
                  <a:cxn ang="0">
                    <a:pos x="28" y="378"/>
                  </a:cxn>
                  <a:cxn ang="0">
                    <a:pos x="750" y="378"/>
                  </a:cxn>
                  <a:cxn ang="0">
                    <a:pos x="750" y="0"/>
                  </a:cxn>
                  <a:cxn ang="0">
                    <a:pos x="750" y="0"/>
                  </a:cxn>
                </a:cxnLst>
                <a:rect l="0" t="0" r="r" b="b"/>
                <a:pathLst>
                  <a:path w="750" h="378">
                    <a:moveTo>
                      <a:pt x="750" y="0"/>
                    </a:moveTo>
                    <a:lnTo>
                      <a:pt x="0" y="0"/>
                    </a:lnTo>
                    <a:lnTo>
                      <a:pt x="2" y="194"/>
                    </a:lnTo>
                    <a:lnTo>
                      <a:pt x="28" y="378"/>
                    </a:lnTo>
                    <a:lnTo>
                      <a:pt x="750" y="378"/>
                    </a:lnTo>
                    <a:lnTo>
                      <a:pt x="750" y="0"/>
                    </a:lnTo>
                    <a:lnTo>
                      <a:pt x="750" y="0"/>
                    </a:lnTo>
                    <a:close/>
                  </a:path>
                </a:pathLst>
              </a:custGeom>
              <a:solidFill>
                <a:srgbClr val="FF9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8" name="Freeform 14"/>
              <p:cNvSpPr>
                <a:spLocks/>
              </p:cNvSpPr>
              <p:nvPr/>
            </p:nvSpPr>
            <p:spPr bwMode="gray">
              <a:xfrm rot="14400000">
                <a:off x="3618" y="2845"/>
                <a:ext cx="346" cy="718"/>
              </a:xfrm>
              <a:custGeom>
                <a:avLst/>
                <a:gdLst/>
                <a:ahLst/>
                <a:cxnLst>
                  <a:cxn ang="0">
                    <a:pos x="495" y="285"/>
                  </a:cxn>
                  <a:cxn ang="0">
                    <a:pos x="495" y="971"/>
                  </a:cxn>
                  <a:cxn ang="0">
                    <a:pos x="462" y="964"/>
                  </a:cxn>
                  <a:cxn ang="0">
                    <a:pos x="430" y="953"/>
                  </a:cxn>
                  <a:cxn ang="0">
                    <a:pos x="401" y="931"/>
                  </a:cxn>
                  <a:cxn ang="0">
                    <a:pos x="372" y="898"/>
                  </a:cxn>
                  <a:cxn ang="0">
                    <a:pos x="339" y="855"/>
                  </a:cxn>
                  <a:cxn ang="0">
                    <a:pos x="306" y="801"/>
                  </a:cxn>
                  <a:cxn ang="0">
                    <a:pos x="270" y="732"/>
                  </a:cxn>
                  <a:cxn ang="0">
                    <a:pos x="227" y="648"/>
                  </a:cxn>
                  <a:cxn ang="0">
                    <a:pos x="183" y="554"/>
                  </a:cxn>
                  <a:cxn ang="0">
                    <a:pos x="129" y="438"/>
                  </a:cxn>
                  <a:cxn ang="0">
                    <a:pos x="96" y="369"/>
                  </a:cxn>
                  <a:cxn ang="0">
                    <a:pos x="29" y="211"/>
                  </a:cxn>
                  <a:cxn ang="0">
                    <a:pos x="2" y="127"/>
                  </a:cxn>
                  <a:cxn ang="0">
                    <a:pos x="0" y="60"/>
                  </a:cxn>
                  <a:cxn ang="0">
                    <a:pos x="15" y="0"/>
                  </a:cxn>
                  <a:cxn ang="0">
                    <a:pos x="15" y="43"/>
                  </a:cxn>
                  <a:cxn ang="0">
                    <a:pos x="15" y="72"/>
                  </a:cxn>
                  <a:cxn ang="0">
                    <a:pos x="15" y="99"/>
                  </a:cxn>
                  <a:cxn ang="0">
                    <a:pos x="18" y="126"/>
                  </a:cxn>
                  <a:cxn ang="0">
                    <a:pos x="29" y="162"/>
                  </a:cxn>
                  <a:cxn ang="0">
                    <a:pos x="53" y="198"/>
                  </a:cxn>
                  <a:cxn ang="0">
                    <a:pos x="85" y="231"/>
                  </a:cxn>
                  <a:cxn ang="0">
                    <a:pos x="125" y="260"/>
                  </a:cxn>
                  <a:cxn ang="0">
                    <a:pos x="180" y="278"/>
                  </a:cxn>
                  <a:cxn ang="0">
                    <a:pos x="245" y="282"/>
                  </a:cxn>
                  <a:cxn ang="0">
                    <a:pos x="495" y="285"/>
                  </a:cxn>
                </a:cxnLst>
                <a:rect l="0" t="0" r="r" b="b"/>
                <a:pathLst>
                  <a:path w="495" h="971">
                    <a:moveTo>
                      <a:pt x="495" y="285"/>
                    </a:moveTo>
                    <a:lnTo>
                      <a:pt x="495" y="971"/>
                    </a:lnTo>
                    <a:lnTo>
                      <a:pt x="462" y="964"/>
                    </a:lnTo>
                    <a:lnTo>
                      <a:pt x="430" y="953"/>
                    </a:lnTo>
                    <a:lnTo>
                      <a:pt x="401" y="931"/>
                    </a:lnTo>
                    <a:lnTo>
                      <a:pt x="372" y="898"/>
                    </a:lnTo>
                    <a:lnTo>
                      <a:pt x="339" y="855"/>
                    </a:lnTo>
                    <a:lnTo>
                      <a:pt x="306" y="801"/>
                    </a:lnTo>
                    <a:lnTo>
                      <a:pt x="270" y="732"/>
                    </a:lnTo>
                    <a:lnTo>
                      <a:pt x="227" y="648"/>
                    </a:lnTo>
                    <a:lnTo>
                      <a:pt x="183" y="554"/>
                    </a:lnTo>
                    <a:lnTo>
                      <a:pt x="129" y="438"/>
                    </a:lnTo>
                    <a:lnTo>
                      <a:pt x="96" y="369"/>
                    </a:lnTo>
                    <a:lnTo>
                      <a:pt x="29" y="211"/>
                    </a:lnTo>
                    <a:lnTo>
                      <a:pt x="2" y="127"/>
                    </a:lnTo>
                    <a:lnTo>
                      <a:pt x="0" y="60"/>
                    </a:lnTo>
                    <a:lnTo>
                      <a:pt x="15" y="0"/>
                    </a:lnTo>
                    <a:lnTo>
                      <a:pt x="15" y="43"/>
                    </a:lnTo>
                    <a:lnTo>
                      <a:pt x="15" y="72"/>
                    </a:lnTo>
                    <a:lnTo>
                      <a:pt x="15" y="99"/>
                    </a:lnTo>
                    <a:lnTo>
                      <a:pt x="18" y="126"/>
                    </a:lnTo>
                    <a:lnTo>
                      <a:pt x="29" y="162"/>
                    </a:lnTo>
                    <a:lnTo>
                      <a:pt x="53" y="198"/>
                    </a:lnTo>
                    <a:lnTo>
                      <a:pt x="85" y="231"/>
                    </a:lnTo>
                    <a:lnTo>
                      <a:pt x="125" y="260"/>
                    </a:lnTo>
                    <a:lnTo>
                      <a:pt x="180" y="278"/>
                    </a:lnTo>
                    <a:lnTo>
                      <a:pt x="245" y="282"/>
                    </a:lnTo>
                    <a:lnTo>
                      <a:pt x="495" y="285"/>
                    </a:lnTo>
                    <a:close/>
                  </a:path>
                </a:pathLst>
              </a:custGeom>
              <a:solidFill>
                <a:srgbClr val="FF99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51" name="Group 15"/>
            <p:cNvGrpSpPr>
              <a:grpSpLocks/>
            </p:cNvGrpSpPr>
            <p:nvPr/>
          </p:nvGrpSpPr>
          <p:grpSpPr bwMode="auto">
            <a:xfrm>
              <a:off x="1655" y="3095"/>
              <a:ext cx="1571" cy="879"/>
              <a:chOff x="1655" y="2837"/>
              <a:chExt cx="1571" cy="879"/>
            </a:xfrm>
          </p:grpSpPr>
          <p:sp>
            <p:nvSpPr>
              <p:cNvPr id="52" name="Freeform 16"/>
              <p:cNvSpPr>
                <a:spLocks/>
              </p:cNvSpPr>
              <p:nvPr/>
            </p:nvSpPr>
            <p:spPr bwMode="gray">
              <a:xfrm>
                <a:off x="1655" y="2837"/>
                <a:ext cx="366" cy="692"/>
              </a:xfrm>
              <a:custGeom>
                <a:avLst/>
                <a:gdLst/>
                <a:ahLst/>
                <a:cxnLst>
                  <a:cxn ang="0">
                    <a:pos x="495" y="285"/>
                  </a:cxn>
                  <a:cxn ang="0">
                    <a:pos x="495" y="971"/>
                  </a:cxn>
                  <a:cxn ang="0">
                    <a:pos x="462" y="964"/>
                  </a:cxn>
                  <a:cxn ang="0">
                    <a:pos x="430" y="953"/>
                  </a:cxn>
                  <a:cxn ang="0">
                    <a:pos x="401" y="931"/>
                  </a:cxn>
                  <a:cxn ang="0">
                    <a:pos x="372" y="898"/>
                  </a:cxn>
                  <a:cxn ang="0">
                    <a:pos x="339" y="855"/>
                  </a:cxn>
                  <a:cxn ang="0">
                    <a:pos x="306" y="801"/>
                  </a:cxn>
                  <a:cxn ang="0">
                    <a:pos x="270" y="732"/>
                  </a:cxn>
                  <a:cxn ang="0">
                    <a:pos x="227" y="648"/>
                  </a:cxn>
                  <a:cxn ang="0">
                    <a:pos x="183" y="554"/>
                  </a:cxn>
                  <a:cxn ang="0">
                    <a:pos x="129" y="438"/>
                  </a:cxn>
                  <a:cxn ang="0">
                    <a:pos x="96" y="369"/>
                  </a:cxn>
                  <a:cxn ang="0">
                    <a:pos x="29" y="211"/>
                  </a:cxn>
                  <a:cxn ang="0">
                    <a:pos x="2" y="127"/>
                  </a:cxn>
                  <a:cxn ang="0">
                    <a:pos x="0" y="60"/>
                  </a:cxn>
                  <a:cxn ang="0">
                    <a:pos x="15" y="0"/>
                  </a:cxn>
                  <a:cxn ang="0">
                    <a:pos x="15" y="43"/>
                  </a:cxn>
                  <a:cxn ang="0">
                    <a:pos x="15" y="72"/>
                  </a:cxn>
                  <a:cxn ang="0">
                    <a:pos x="15" y="99"/>
                  </a:cxn>
                  <a:cxn ang="0">
                    <a:pos x="18" y="126"/>
                  </a:cxn>
                  <a:cxn ang="0">
                    <a:pos x="29" y="162"/>
                  </a:cxn>
                  <a:cxn ang="0">
                    <a:pos x="53" y="198"/>
                  </a:cxn>
                  <a:cxn ang="0">
                    <a:pos x="85" y="231"/>
                  </a:cxn>
                  <a:cxn ang="0">
                    <a:pos x="125" y="260"/>
                  </a:cxn>
                  <a:cxn ang="0">
                    <a:pos x="180" y="278"/>
                  </a:cxn>
                  <a:cxn ang="0">
                    <a:pos x="245" y="282"/>
                  </a:cxn>
                  <a:cxn ang="0">
                    <a:pos x="495" y="285"/>
                  </a:cxn>
                </a:cxnLst>
                <a:rect l="0" t="0" r="r" b="b"/>
                <a:pathLst>
                  <a:path w="495" h="971">
                    <a:moveTo>
                      <a:pt x="495" y="285"/>
                    </a:moveTo>
                    <a:lnTo>
                      <a:pt x="495" y="971"/>
                    </a:lnTo>
                    <a:lnTo>
                      <a:pt x="462" y="964"/>
                    </a:lnTo>
                    <a:lnTo>
                      <a:pt x="430" y="953"/>
                    </a:lnTo>
                    <a:lnTo>
                      <a:pt x="401" y="931"/>
                    </a:lnTo>
                    <a:lnTo>
                      <a:pt x="372" y="898"/>
                    </a:lnTo>
                    <a:lnTo>
                      <a:pt x="339" y="855"/>
                    </a:lnTo>
                    <a:lnTo>
                      <a:pt x="306" y="801"/>
                    </a:lnTo>
                    <a:lnTo>
                      <a:pt x="270" y="732"/>
                    </a:lnTo>
                    <a:lnTo>
                      <a:pt x="227" y="648"/>
                    </a:lnTo>
                    <a:lnTo>
                      <a:pt x="183" y="554"/>
                    </a:lnTo>
                    <a:lnTo>
                      <a:pt x="129" y="438"/>
                    </a:lnTo>
                    <a:lnTo>
                      <a:pt x="96" y="369"/>
                    </a:lnTo>
                    <a:lnTo>
                      <a:pt x="29" y="211"/>
                    </a:lnTo>
                    <a:lnTo>
                      <a:pt x="2" y="127"/>
                    </a:lnTo>
                    <a:lnTo>
                      <a:pt x="0" y="60"/>
                    </a:lnTo>
                    <a:lnTo>
                      <a:pt x="15" y="0"/>
                    </a:lnTo>
                    <a:lnTo>
                      <a:pt x="15" y="43"/>
                    </a:lnTo>
                    <a:lnTo>
                      <a:pt x="15" y="72"/>
                    </a:lnTo>
                    <a:lnTo>
                      <a:pt x="15" y="99"/>
                    </a:lnTo>
                    <a:lnTo>
                      <a:pt x="18" y="126"/>
                    </a:lnTo>
                    <a:lnTo>
                      <a:pt x="29" y="162"/>
                    </a:lnTo>
                    <a:lnTo>
                      <a:pt x="53" y="198"/>
                    </a:lnTo>
                    <a:lnTo>
                      <a:pt x="85" y="231"/>
                    </a:lnTo>
                    <a:lnTo>
                      <a:pt x="125" y="260"/>
                    </a:lnTo>
                    <a:lnTo>
                      <a:pt x="180" y="278"/>
                    </a:lnTo>
                    <a:lnTo>
                      <a:pt x="245" y="282"/>
                    </a:lnTo>
                    <a:lnTo>
                      <a:pt x="495" y="285"/>
                    </a:lnTo>
                    <a:close/>
                  </a:path>
                </a:pathLst>
              </a:custGeom>
              <a:solidFill>
                <a:srgbClr val="00CC9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4" name="AutoShape 17"/>
              <p:cNvSpPr>
                <a:spLocks noChangeArrowheads="1"/>
              </p:cNvSpPr>
              <p:nvPr/>
            </p:nvSpPr>
            <p:spPr bwMode="gray">
              <a:xfrm rot="5400000">
                <a:off x="2589" y="3078"/>
                <a:ext cx="872" cy="403"/>
              </a:xfrm>
              <a:prstGeom prst="triangle">
                <a:avLst>
                  <a:gd name="adj" fmla="val 50000"/>
                </a:avLst>
              </a:prstGeom>
              <a:solidFill>
                <a:srgbClr val="00CC99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5" name="Freeform 18"/>
              <p:cNvSpPr>
                <a:spLocks/>
              </p:cNvSpPr>
              <p:nvPr/>
            </p:nvSpPr>
            <p:spPr bwMode="gray">
              <a:xfrm>
                <a:off x="1985" y="3040"/>
                <a:ext cx="1005" cy="489"/>
              </a:xfrm>
              <a:custGeom>
                <a:avLst/>
                <a:gdLst/>
                <a:ahLst/>
                <a:cxnLst>
                  <a:cxn ang="0">
                    <a:pos x="750" y="0"/>
                  </a:cxn>
                  <a:cxn ang="0">
                    <a:pos x="0" y="0"/>
                  </a:cxn>
                  <a:cxn ang="0">
                    <a:pos x="2" y="194"/>
                  </a:cxn>
                  <a:cxn ang="0">
                    <a:pos x="28" y="378"/>
                  </a:cxn>
                  <a:cxn ang="0">
                    <a:pos x="750" y="378"/>
                  </a:cxn>
                  <a:cxn ang="0">
                    <a:pos x="750" y="0"/>
                  </a:cxn>
                  <a:cxn ang="0">
                    <a:pos x="750" y="0"/>
                  </a:cxn>
                </a:cxnLst>
                <a:rect l="0" t="0" r="r" b="b"/>
                <a:pathLst>
                  <a:path w="750" h="378">
                    <a:moveTo>
                      <a:pt x="750" y="0"/>
                    </a:moveTo>
                    <a:lnTo>
                      <a:pt x="0" y="0"/>
                    </a:lnTo>
                    <a:lnTo>
                      <a:pt x="2" y="194"/>
                    </a:lnTo>
                    <a:lnTo>
                      <a:pt x="28" y="378"/>
                    </a:lnTo>
                    <a:lnTo>
                      <a:pt x="750" y="378"/>
                    </a:lnTo>
                    <a:lnTo>
                      <a:pt x="750" y="0"/>
                    </a:lnTo>
                    <a:lnTo>
                      <a:pt x="750" y="0"/>
                    </a:lnTo>
                    <a:close/>
                  </a:path>
                </a:pathLst>
              </a:custGeom>
              <a:solidFill>
                <a:srgbClr val="00CC9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6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9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2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5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54" grpId="0"/>
      <p:bldP spid="55" grpId="0"/>
      <p:bldP spid="5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-7000" r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72008" y="0"/>
            <a:ext cx="971600" cy="6858000"/>
            <a:chOff x="205" y="1"/>
            <a:chExt cx="406" cy="3836"/>
          </a:xfrm>
        </p:grpSpPr>
        <p:grpSp>
          <p:nvGrpSpPr>
            <p:cNvPr id="3" name="Group 21"/>
            <p:cNvGrpSpPr>
              <a:grpSpLocks/>
            </p:cNvGrpSpPr>
            <p:nvPr/>
          </p:nvGrpSpPr>
          <p:grpSpPr bwMode="auto">
            <a:xfrm>
              <a:off x="205" y="1"/>
              <a:ext cx="225" cy="3836"/>
              <a:chOff x="205" y="1"/>
              <a:chExt cx="225" cy="3836"/>
            </a:xfrm>
          </p:grpSpPr>
          <p:sp>
            <p:nvSpPr>
              <p:cNvPr id="58" name="Rectangle 13"/>
              <p:cNvSpPr>
                <a:spLocks noChangeArrowheads="1"/>
              </p:cNvSpPr>
              <p:nvPr/>
            </p:nvSpPr>
            <p:spPr bwMode="auto">
              <a:xfrm>
                <a:off x="205" y="1"/>
                <a:ext cx="225" cy="38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59" name="Rectangle 14"/>
              <p:cNvSpPr>
                <a:spLocks noChangeArrowheads="1"/>
              </p:cNvSpPr>
              <p:nvPr/>
            </p:nvSpPr>
            <p:spPr bwMode="auto">
              <a:xfrm>
                <a:off x="205" y="34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0" name="Rectangle 15"/>
              <p:cNvSpPr>
                <a:spLocks noChangeArrowheads="1"/>
              </p:cNvSpPr>
              <p:nvPr/>
            </p:nvSpPr>
            <p:spPr bwMode="auto">
              <a:xfrm>
                <a:off x="205" y="800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1" name="Rectangle 16"/>
              <p:cNvSpPr>
                <a:spLocks noChangeArrowheads="1"/>
              </p:cNvSpPr>
              <p:nvPr/>
            </p:nvSpPr>
            <p:spPr bwMode="auto">
              <a:xfrm>
                <a:off x="205" y="1254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2" name="Rectangle 17"/>
              <p:cNvSpPr>
                <a:spLocks noChangeArrowheads="1"/>
              </p:cNvSpPr>
              <p:nvPr/>
            </p:nvSpPr>
            <p:spPr bwMode="auto">
              <a:xfrm>
                <a:off x="205" y="1707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205" y="2161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4" name="Rectangle 19"/>
              <p:cNvSpPr>
                <a:spLocks noChangeArrowheads="1"/>
              </p:cNvSpPr>
              <p:nvPr/>
            </p:nvSpPr>
            <p:spPr bwMode="auto">
              <a:xfrm>
                <a:off x="205" y="2615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  <p:sp>
            <p:nvSpPr>
              <p:cNvPr id="65" name="Rectangle 20"/>
              <p:cNvSpPr>
                <a:spLocks noChangeArrowheads="1"/>
              </p:cNvSpPr>
              <p:nvPr/>
            </p:nvSpPr>
            <p:spPr bwMode="auto">
              <a:xfrm>
                <a:off x="205" y="3068"/>
                <a:ext cx="225" cy="224"/>
              </a:xfrm>
              <a:prstGeom prst="rect">
                <a:avLst/>
              </a:prstGeom>
              <a:gradFill rotWithShape="0">
                <a:gsLst>
                  <a:gs pos="0">
                    <a:schemeClr val="accent1">
                      <a:gamma/>
                      <a:shade val="49804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49804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 dirty="0"/>
              </a:p>
            </p:txBody>
          </p:sp>
        </p:grpSp>
        <p:sp>
          <p:nvSpPr>
            <p:cNvPr id="51" name="Rectangle 22"/>
            <p:cNvSpPr>
              <a:spLocks noChangeArrowheads="1"/>
            </p:cNvSpPr>
            <p:nvPr/>
          </p:nvSpPr>
          <p:spPr bwMode="auto">
            <a:xfrm>
              <a:off x="432" y="34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2" name="Rectangle 23"/>
            <p:cNvSpPr>
              <a:spLocks noChangeArrowheads="1"/>
            </p:cNvSpPr>
            <p:nvPr/>
          </p:nvSpPr>
          <p:spPr bwMode="auto">
            <a:xfrm>
              <a:off x="432" y="800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3" name="Rectangle 24"/>
            <p:cNvSpPr>
              <a:spLocks noChangeArrowheads="1"/>
            </p:cNvSpPr>
            <p:nvPr/>
          </p:nvSpPr>
          <p:spPr bwMode="auto">
            <a:xfrm>
              <a:off x="432" y="1254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4" name="Rectangle 25"/>
            <p:cNvSpPr>
              <a:spLocks noChangeArrowheads="1"/>
            </p:cNvSpPr>
            <p:nvPr/>
          </p:nvSpPr>
          <p:spPr bwMode="auto">
            <a:xfrm>
              <a:off x="432" y="1707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5" name="Rectangle 26"/>
            <p:cNvSpPr>
              <a:spLocks noChangeArrowheads="1"/>
            </p:cNvSpPr>
            <p:nvPr/>
          </p:nvSpPr>
          <p:spPr bwMode="auto">
            <a:xfrm>
              <a:off x="432" y="2161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6" name="Rectangle 27"/>
            <p:cNvSpPr>
              <a:spLocks noChangeArrowheads="1"/>
            </p:cNvSpPr>
            <p:nvPr/>
          </p:nvSpPr>
          <p:spPr bwMode="auto">
            <a:xfrm>
              <a:off x="432" y="2615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  <p:sp>
          <p:nvSpPr>
            <p:cNvPr id="57" name="Rectangle 28"/>
            <p:cNvSpPr>
              <a:spLocks noChangeArrowheads="1"/>
            </p:cNvSpPr>
            <p:nvPr/>
          </p:nvSpPr>
          <p:spPr bwMode="auto">
            <a:xfrm>
              <a:off x="432" y="3068"/>
              <a:ext cx="179" cy="22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2075" tIns="46038" rIns="92075" bIns="46038" anchor="ctr"/>
            <a:lstStyle/>
            <a:p>
              <a:pPr algn="ctr"/>
              <a:endParaRPr lang="ru-RU" sz="2400" dirty="0">
                <a:latin typeface="Times New Roman" pitchFamily="18" charset="0"/>
              </a:endParaRPr>
            </a:p>
          </p:txBody>
        </p:sp>
      </p:grpSp>
      <p:sp>
        <p:nvSpPr>
          <p:cNvPr id="32" name="Прямоугольник 31"/>
          <p:cNvSpPr/>
          <p:nvPr/>
        </p:nvSpPr>
        <p:spPr>
          <a:xfrm>
            <a:off x="1043608" y="0"/>
            <a:ext cx="7200800" cy="1440160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CurveDown">
              <a:avLst>
                <a:gd name="adj" fmla="val 49086"/>
              </a:avLst>
            </a:prstTxWarp>
            <a:spAutoFit/>
          </a:bodyPr>
          <a:lstStyle/>
          <a:p>
            <a:pPr algn="ctr"/>
            <a:r>
              <a:rPr lang="ru-RU" sz="5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 </a:t>
            </a:r>
            <a:r>
              <a:rPr lang="ru-RU" sz="5400" b="1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КАК НАДО УЧИТЬ ЗАВТРА</a:t>
            </a:r>
            <a:r>
              <a:rPr lang="en-US" sz="5400" b="1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?</a:t>
            </a:r>
            <a:r>
              <a:rPr lang="ru-RU" sz="5400" b="1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  </a:t>
            </a:r>
            <a:endParaRPr lang="ru-RU" sz="5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39552" y="1700808"/>
            <a:ext cx="8604448" cy="36009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b="1" cap="none" spc="0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bg1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r>
              <a:rPr lang="ru-RU" sz="3600" b="1" cap="none" spc="0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МЫ, УЧИТЕЛЯ, </a:t>
            </a:r>
          </a:p>
          <a:p>
            <a:pPr algn="ctr"/>
            <a:r>
              <a:rPr lang="ru-RU" sz="3600" b="1" cap="none" spc="0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ДОЛЖНЫ НАУЧИТЬ ИСКАТЬ НЕОБХОДИМЫЕ   ДАННЫЕ И ПОЛЬЗОВАТЬСЯ ИМИ,  ЧТОБЫ   ОНИ </a:t>
            </a:r>
          </a:p>
          <a:p>
            <a:pPr algn="ctr"/>
            <a:r>
              <a:rPr lang="ru-RU" sz="3600" b="1" cap="none" spc="0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 СМОГЛИ СОЗДАВАТЬ </a:t>
            </a:r>
          </a:p>
          <a:p>
            <a:pPr algn="ctr"/>
            <a:r>
              <a:rPr lang="ru-RU" sz="4800" b="1" cap="none" spc="0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                        </a:t>
            </a:r>
            <a:r>
              <a:rPr lang="ru-RU" sz="4800" b="1" cap="none" spc="0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НОВЫЕ  ИДЕИ</a:t>
            </a:r>
            <a:r>
              <a:rPr lang="ru-RU" sz="3600" b="1" cap="none" spc="0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.</a:t>
            </a:r>
            <a:endParaRPr lang="ru-RU" sz="3600" b="1" cap="none" spc="0" dirty="0">
              <a:ln w="31550" cmpd="sng">
                <a:gradFill>
                  <a:gsLst>
                    <a:gs pos="25000">
                      <a:schemeClr val="accent1">
                        <a:shade val="25000"/>
                        <a:satMod val="190000"/>
                      </a:schemeClr>
                    </a:gs>
                    <a:gs pos="80000">
                      <a:schemeClr val="accent1">
                        <a:tint val="75000"/>
                        <a:satMod val="190000"/>
                      </a:schemeClr>
                    </a:gs>
                  </a:gsLst>
                  <a:lin ang="5400000"/>
                </a:gradFill>
                <a:prstDash val="solid"/>
              </a:ln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41275" dist="12700" dir="120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2050" name="Picture 2" descr="C:\Users\МИГ\Desktop\DesktopMania.ru-5778-300x22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0080" y="4725144"/>
            <a:ext cx="2843808" cy="2132856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</p:cSld>
  <p:clrMapOvr>
    <a:masterClrMapping/>
  </p:clrMapOvr>
  <p:transition spd="med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NtoEIsFRES8Lzaeo5VN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NtoEIsFRES8Lzaeo5VNT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5</TotalTime>
  <Words>856</Words>
  <Application>Microsoft Office PowerPoint</Application>
  <PresentationFormat>Экран (4:3)</PresentationFormat>
  <Paragraphs>203</Paragraphs>
  <Slides>33</Slides>
  <Notes>1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34" baseType="lpstr">
      <vt:lpstr>Тема Office</vt:lpstr>
      <vt:lpstr>Презентация PowerPoint</vt:lpstr>
      <vt:lpstr>Презентация PowerPoint</vt:lpstr>
      <vt:lpstr> Обо всём понемногу</vt:lpstr>
      <vt:lpstr> Обо всём понемногу</vt:lpstr>
      <vt:lpstr>Презентация PowerPoint</vt:lpstr>
      <vt:lpstr>Презентация PowerPoint</vt:lpstr>
      <vt:lpstr> ГОТОВОГО БУДУЩЕГО НЕТ:                              ЕГО СТРОИМ МЫ САМИ </vt:lpstr>
      <vt:lpstr> </vt:lpstr>
      <vt:lpstr>Презентация PowerPoint</vt:lpstr>
      <vt:lpstr> Хочу всё знать</vt:lpstr>
      <vt:lpstr>Презентация PowerPoint</vt:lpstr>
      <vt:lpstr>Взаимосвязь педагогических и информационных технологий</vt:lpstr>
      <vt:lpstr>ЧТО ТАКОЕ  ИКТ ?</vt:lpstr>
      <vt:lpstr>Презентация PowerPoint</vt:lpstr>
      <vt:lpstr>Классификация  </vt:lpstr>
      <vt:lpstr>Презентация PowerPoint</vt:lpstr>
      <vt:lpstr>Презентация PowerPoint</vt:lpstr>
      <vt:lpstr>Технологии числовых расчет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Google документы</vt:lpstr>
      <vt:lpstr>ПОЧЕМУ GOOGLE? sites.google.com позволяет интегрировать работу всех сервисов</vt:lpstr>
      <vt:lpstr> Прыжки в высоту</vt:lpstr>
      <vt:lpstr>КАК ЭТОМУ МОЖНО УЧИТЬ?</vt:lpstr>
      <vt:lpstr>Примеры заданий в электронной среде.  Работа на сайте. </vt:lpstr>
      <vt:lpstr>Презентация PowerPoint</vt:lpstr>
      <vt:lpstr>Там,  за горизонтом</vt:lpstr>
      <vt:lpstr> Перспективы использования ИКТ              в образовании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МИГ</dc:creator>
  <cp:lastModifiedBy>1</cp:lastModifiedBy>
  <cp:revision>203</cp:revision>
  <dcterms:created xsi:type="dcterms:W3CDTF">2013-11-27T08:03:48Z</dcterms:created>
  <dcterms:modified xsi:type="dcterms:W3CDTF">2025-02-03T17:33:52Z</dcterms:modified>
</cp:coreProperties>
</file>